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1" r:id="rId3"/>
    <p:sldMasterId id="2147483719" r:id="rId4"/>
    <p:sldMasterId id="2147483745" r:id="rId5"/>
  </p:sldMasterIdLst>
  <p:notesMasterIdLst>
    <p:notesMasterId r:id="rId58"/>
  </p:notesMasterIdLst>
  <p:handoutMasterIdLst>
    <p:handoutMasterId r:id="rId59"/>
  </p:handoutMasterIdLst>
  <p:sldIdLst>
    <p:sldId id="256" r:id="rId6"/>
    <p:sldId id="257" r:id="rId7"/>
    <p:sldId id="258" r:id="rId8"/>
    <p:sldId id="259" r:id="rId9"/>
    <p:sldId id="260" r:id="rId10"/>
    <p:sldId id="261" r:id="rId11"/>
    <p:sldId id="262" r:id="rId12"/>
    <p:sldId id="263" r:id="rId13"/>
    <p:sldId id="264" r:id="rId14"/>
    <p:sldId id="265" r:id="rId15"/>
    <p:sldId id="266" r:id="rId16"/>
    <p:sldId id="267" r:id="rId17"/>
    <p:sldId id="268" r:id="rId18"/>
    <p:sldId id="269" r:id="rId19"/>
    <p:sldId id="270" r:id="rId20"/>
    <p:sldId id="271" r:id="rId21"/>
    <p:sldId id="272" r:id="rId22"/>
    <p:sldId id="273" r:id="rId23"/>
    <p:sldId id="274" r:id="rId24"/>
    <p:sldId id="275" r:id="rId25"/>
    <p:sldId id="276" r:id="rId26"/>
    <p:sldId id="277" r:id="rId27"/>
    <p:sldId id="278" r:id="rId28"/>
    <p:sldId id="279" r:id="rId29"/>
    <p:sldId id="280" r:id="rId30"/>
    <p:sldId id="281" r:id="rId31"/>
    <p:sldId id="282" r:id="rId32"/>
    <p:sldId id="283" r:id="rId33"/>
    <p:sldId id="284" r:id="rId34"/>
    <p:sldId id="285" r:id="rId35"/>
    <p:sldId id="286" r:id="rId36"/>
    <p:sldId id="307" r:id="rId37"/>
    <p:sldId id="287" r:id="rId38"/>
    <p:sldId id="288" r:id="rId39"/>
    <p:sldId id="289" r:id="rId40"/>
    <p:sldId id="290" r:id="rId41"/>
    <p:sldId id="291" r:id="rId42"/>
    <p:sldId id="292" r:id="rId43"/>
    <p:sldId id="293" r:id="rId44"/>
    <p:sldId id="294" r:id="rId45"/>
    <p:sldId id="295" r:id="rId46"/>
    <p:sldId id="296" r:id="rId47"/>
    <p:sldId id="297" r:id="rId48"/>
    <p:sldId id="298" r:id="rId49"/>
    <p:sldId id="299" r:id="rId50"/>
    <p:sldId id="300" r:id="rId51"/>
    <p:sldId id="301" r:id="rId52"/>
    <p:sldId id="302" r:id="rId53"/>
    <p:sldId id="303" r:id="rId54"/>
    <p:sldId id="304" r:id="rId55"/>
    <p:sldId id="305" r:id="rId56"/>
    <p:sldId id="306" r:id="rId57"/>
  </p:sldIdLst>
  <p:sldSz cx="12192000" cy="6858000"/>
  <p:notesSz cx="6797675" cy="9926638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ektion" id="{97D97281-B539-4F24-A89C-B4F54AA7E437}">
          <p14:sldIdLst>
            <p14:sldId id="256"/>
            <p14:sldId id="257"/>
            <p14:sldId id="258"/>
            <p14:sldId id="259"/>
            <p14:sldId id="260"/>
            <p14:sldId id="261"/>
            <p14:sldId id="262"/>
            <p14:sldId id="263"/>
            <p14:sldId id="264"/>
            <p14:sldId id="265"/>
            <p14:sldId id="266"/>
            <p14:sldId id="267"/>
            <p14:sldId id="268"/>
            <p14:sldId id="269"/>
            <p14:sldId id="270"/>
            <p14:sldId id="271"/>
            <p14:sldId id="272"/>
            <p14:sldId id="273"/>
            <p14:sldId id="274"/>
            <p14:sldId id="275"/>
            <p14:sldId id="276"/>
            <p14:sldId id="277"/>
            <p14:sldId id="278"/>
            <p14:sldId id="279"/>
            <p14:sldId id="280"/>
            <p14:sldId id="281"/>
            <p14:sldId id="282"/>
            <p14:sldId id="283"/>
            <p14:sldId id="284"/>
            <p14:sldId id="285"/>
            <p14:sldId id="286"/>
            <p14:sldId id="307"/>
            <p14:sldId id="287"/>
            <p14:sldId id="288"/>
            <p14:sldId id="289"/>
            <p14:sldId id="290"/>
            <p14:sldId id="291"/>
            <p14:sldId id="292"/>
            <p14:sldId id="293"/>
            <p14:sldId id="294"/>
            <p14:sldId id="295"/>
            <p14:sldId id="296"/>
            <p14:sldId id="297"/>
            <p14:sldId id="298"/>
            <p14:sldId id="299"/>
            <p14:sldId id="300"/>
            <p14:sldId id="301"/>
            <p14:sldId id="302"/>
            <p14:sldId id="303"/>
            <p14:sldId id="304"/>
            <p14:sldId id="305"/>
            <p14:sldId id="30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7478" autoAdjust="0"/>
  </p:normalViewPr>
  <p:slideViewPr>
    <p:cSldViewPr snapToGrid="0">
      <p:cViewPr varScale="1">
        <p:scale>
          <a:sx n="74" d="100"/>
          <a:sy n="74" d="100"/>
        </p:scale>
        <p:origin x="57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slide" Target="slides/slide50.xml"/><Relationship Id="rId63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62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slide" Target="slides/slide52.xml"/><Relationship Id="rId61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slide" Target="slides/slide5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957482-69C4-4162-81AD-621FF2A2EBA4}" type="datetimeFigureOut">
              <a:rPr lang="da-DK" smtClean="0"/>
              <a:t>26-10-2020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354D21-91C0-4DA5-B526-AC595D6E81E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464877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7389F7-6357-495D-B132-8E108C935050}" type="datetimeFigureOut">
              <a:rPr lang="da-DK" smtClean="0"/>
              <a:t>26-10-2020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541CCF-F32A-416C-AE74-D93D3E9346CF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880066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Praktisk info:</a:t>
            </a:r>
          </a:p>
          <a:p>
            <a:r>
              <a:rPr lang="da-DK" dirty="0" smtClean="0"/>
              <a:t>Sluk mikrofonen</a:t>
            </a:r>
            <a:r>
              <a:rPr lang="da-DK" baseline="0" dirty="0" smtClean="0"/>
              <a:t> og hvis forbindelsen er dårlig, kan I prøve at slukke kameraet.</a:t>
            </a:r>
          </a:p>
          <a:p>
            <a:r>
              <a:rPr lang="da-DK" baseline="0" dirty="0" smtClean="0"/>
              <a:t>Har I spørgsmål, kan I skrive dem i chatfunktionen, eller bare skrive, at I har et spørgsmål, så kan I stille det, når det lige passer ind. Huske at tænde mikrofonen.</a:t>
            </a:r>
          </a:p>
          <a:p>
            <a:r>
              <a:rPr lang="da-DK" baseline="0" dirty="0" smtClean="0"/>
              <a:t>Chatfunktionen aktiverer I ved at trykke på taleboblen oppe til højre.</a:t>
            </a:r>
          </a:p>
          <a:p>
            <a:r>
              <a:rPr lang="da-DK" baseline="0" dirty="0" smtClean="0"/>
              <a:t>I kan ændre hvordan jeres skærm ser ud oppe til højre.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>
                <a:solidFill>
                  <a:prstClr val="black"/>
                </a:solidFill>
              </a:rPr>
              <a:pPr/>
              <a:t>1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26528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1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1963576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1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504732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1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9963749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60E422-56BB-4CF1-8082-14EC54464B43}" type="slidenum">
              <a:rPr lang="da-DK" smtClean="0">
                <a:solidFill>
                  <a:prstClr val="black"/>
                </a:solidFill>
              </a:rPr>
              <a:pPr/>
              <a:t>13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90449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60E422-56BB-4CF1-8082-14EC54464B43}" type="slidenum">
              <a:rPr lang="da-DK" smtClean="0">
                <a:solidFill>
                  <a:prstClr val="black"/>
                </a:solidFill>
              </a:rPr>
              <a:pPr/>
              <a:t>14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881453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460E422-56BB-4CF1-8082-14EC54464B43}" type="slidenum">
              <a:rPr lang="da-DK" smtClean="0">
                <a:solidFill>
                  <a:prstClr val="black"/>
                </a:solidFill>
              </a:rPr>
              <a:pPr/>
              <a:t>15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073514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1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8372809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EF9F1A-4D46-40D7-AEE7-DAFA5C48C8B6}" type="slidenum">
              <a:rPr lang="da-DK" smtClean="0">
                <a:solidFill>
                  <a:prstClr val="black"/>
                </a:solidFill>
                <a:latin typeface="Verdana"/>
              </a:rPr>
              <a:pPr/>
              <a:t>17</a:t>
            </a:fld>
            <a:endParaRPr lang="da-DK" dirty="0">
              <a:solidFill>
                <a:prstClr val="black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82642347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1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604602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EF9F1A-4D46-40D7-AEE7-DAFA5C48C8B6}" type="slidenum">
              <a:rPr lang="da-DK" smtClean="0">
                <a:solidFill>
                  <a:prstClr val="black"/>
                </a:solidFill>
                <a:latin typeface="Verdana"/>
              </a:rPr>
              <a:pPr/>
              <a:t>19</a:t>
            </a:fld>
            <a:endParaRPr lang="da-DK">
              <a:solidFill>
                <a:prstClr val="black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116388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0830153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2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9038599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2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3930530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EF9F1A-4D46-40D7-AEE7-DAFA5C48C8B6}" type="slidenum">
              <a:rPr lang="da-DK" smtClean="0">
                <a:solidFill>
                  <a:prstClr val="black"/>
                </a:solidFill>
                <a:latin typeface="Verdana"/>
              </a:rPr>
              <a:pPr/>
              <a:t>22</a:t>
            </a:fld>
            <a:endParaRPr lang="da-DK">
              <a:solidFill>
                <a:prstClr val="black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3941199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2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2872675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EF9F1A-4D46-40D7-AEE7-DAFA5C48C8B6}" type="slidenum">
              <a:rPr lang="da-DK" smtClean="0">
                <a:solidFill>
                  <a:prstClr val="black"/>
                </a:solidFill>
                <a:latin typeface="Verdana"/>
              </a:rPr>
              <a:pPr/>
              <a:t>24</a:t>
            </a:fld>
            <a:endParaRPr lang="da-DK">
              <a:solidFill>
                <a:prstClr val="black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927398009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EF9F1A-4D46-40D7-AEE7-DAFA5C48C8B6}" type="slidenum">
              <a:rPr lang="da-DK" smtClean="0">
                <a:solidFill>
                  <a:prstClr val="black"/>
                </a:solidFill>
                <a:latin typeface="Verdana"/>
              </a:rPr>
              <a:pPr/>
              <a:t>25</a:t>
            </a:fld>
            <a:endParaRPr lang="da-DK">
              <a:solidFill>
                <a:prstClr val="black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80512148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EF9F1A-4D46-40D7-AEE7-DAFA5C48C8B6}" type="slidenum">
              <a:rPr lang="da-DK" smtClean="0">
                <a:solidFill>
                  <a:prstClr val="black"/>
                </a:solidFill>
                <a:latin typeface="Verdana"/>
              </a:rPr>
              <a:pPr/>
              <a:t>26</a:t>
            </a:fld>
            <a:endParaRPr lang="da-DK">
              <a:solidFill>
                <a:prstClr val="black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84376042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EF9F1A-4D46-40D7-AEE7-DAFA5C48C8B6}" type="slidenum">
              <a:rPr lang="da-DK" smtClean="0">
                <a:solidFill>
                  <a:prstClr val="black"/>
                </a:solidFill>
                <a:latin typeface="Verdana"/>
              </a:rPr>
              <a:pPr/>
              <a:t>27</a:t>
            </a:fld>
            <a:endParaRPr lang="da-DK">
              <a:solidFill>
                <a:prstClr val="black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714794005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EF9F1A-4D46-40D7-AEE7-DAFA5C48C8B6}" type="slidenum">
              <a:rPr lang="da-DK" smtClean="0">
                <a:solidFill>
                  <a:prstClr val="black"/>
                </a:solidFill>
                <a:latin typeface="Verdana"/>
              </a:rPr>
              <a:pPr/>
              <a:t>28</a:t>
            </a:fld>
            <a:endParaRPr lang="da-DK">
              <a:solidFill>
                <a:prstClr val="black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3544219391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EF9F1A-4D46-40D7-AEE7-DAFA5C48C8B6}" type="slidenum">
              <a:rPr lang="da-DK" smtClean="0">
                <a:solidFill>
                  <a:prstClr val="black"/>
                </a:solidFill>
                <a:latin typeface="Verdana"/>
              </a:rPr>
              <a:pPr/>
              <a:t>29</a:t>
            </a:fld>
            <a:endParaRPr lang="da-DK">
              <a:solidFill>
                <a:prstClr val="black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6020831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1126727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EF9F1A-4D46-40D7-AEE7-DAFA5C48C8B6}" type="slidenum">
              <a:rPr lang="da-DK" smtClean="0">
                <a:solidFill>
                  <a:prstClr val="black"/>
                </a:solidFill>
                <a:latin typeface="Verdana"/>
              </a:rPr>
              <a:pPr/>
              <a:t>30</a:t>
            </a:fld>
            <a:endParaRPr lang="da-DK">
              <a:solidFill>
                <a:prstClr val="black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685345457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2EF9F1A-4D46-40D7-AEE7-DAFA5C48C8B6}" type="slidenum">
              <a:rPr lang="da-DK" smtClean="0">
                <a:solidFill>
                  <a:prstClr val="black"/>
                </a:solidFill>
                <a:latin typeface="Verdana"/>
              </a:rPr>
              <a:pPr/>
              <a:t>31</a:t>
            </a:fld>
            <a:endParaRPr lang="da-DK">
              <a:solidFill>
                <a:prstClr val="black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2011926009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 smtClean="0"/>
              <a:t>Praktisk info:</a:t>
            </a:r>
          </a:p>
          <a:p>
            <a:r>
              <a:rPr lang="da-DK" dirty="0" smtClean="0"/>
              <a:t>Sluk mikrofonen</a:t>
            </a:r>
            <a:r>
              <a:rPr lang="da-DK" baseline="0" dirty="0" smtClean="0"/>
              <a:t> og hvis forbindelsen er dårlig, kan I prøve at slukke kameraet.</a:t>
            </a:r>
          </a:p>
          <a:p>
            <a:r>
              <a:rPr lang="da-DK" baseline="0" dirty="0" smtClean="0"/>
              <a:t>Har I spørgsmål, kan I skrive dem i chatfunktionen, eller bare skrive, at I har et spørgsmål, så kan I stille det, når det lige passer ind. Huske at tænde mikrofonen.</a:t>
            </a:r>
          </a:p>
          <a:p>
            <a:r>
              <a:rPr lang="da-DK" baseline="0" dirty="0" smtClean="0"/>
              <a:t>Chatfunktionen aktiverer I ved at trykke på taleboblen oppe til højre.</a:t>
            </a:r>
          </a:p>
          <a:p>
            <a:r>
              <a:rPr lang="da-DK" baseline="0" dirty="0" smtClean="0"/>
              <a:t>I kan ændre hvordan jeres skærm ser ud oppe til højre.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>
                <a:solidFill>
                  <a:prstClr val="black"/>
                </a:solidFill>
              </a:rPr>
              <a:pPr/>
              <a:t>32</a:t>
            </a:fld>
            <a:endParaRPr lang="da-DK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303317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3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2157896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B9A84A-733A-0C47-AC2B-F0C70F83A7E9}" type="slidenum">
              <a:rPr lang="en-US" smtClean="0">
                <a:solidFill>
                  <a:prstClr val="black"/>
                </a:solidFill>
              </a:rPr>
              <a:pPr/>
              <a:t>3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191951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3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41684727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B9A84A-733A-0C47-AC2B-F0C70F83A7E9}" type="slidenum">
              <a:rPr lang="en-US" smtClean="0">
                <a:solidFill>
                  <a:prstClr val="black"/>
                </a:solidFill>
              </a:rPr>
              <a:pPr/>
              <a:t>3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2925670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3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27514431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3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08989582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B9A84A-733A-0C47-AC2B-F0C70F83A7E9}" type="slidenum">
              <a:rPr lang="en-US" smtClean="0">
                <a:solidFill>
                  <a:prstClr val="black"/>
                </a:solidFill>
              </a:rPr>
              <a:pPr/>
              <a:t>3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44065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68685299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4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9728182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B9A84A-733A-0C47-AC2B-F0C70F83A7E9}" type="slidenum">
              <a:rPr lang="en-US" smtClean="0">
                <a:solidFill>
                  <a:prstClr val="black"/>
                </a:solidFill>
              </a:rPr>
              <a:pPr/>
              <a:t>4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5322131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4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76383980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4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84082677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4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85281603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4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73377985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B9A84A-733A-0C47-AC2B-F0C70F83A7E9}" type="slidenum">
              <a:rPr lang="en-US" smtClean="0">
                <a:solidFill>
                  <a:prstClr val="black"/>
                </a:solidFill>
              </a:rPr>
              <a:pPr/>
              <a:t>46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7868631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4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27870201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4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74548389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4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56616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09215428"/>
      </p:ext>
    </p:extLst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50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24679223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5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01228670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5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950253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259499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77869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3785753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D541CCF-F32A-416C-AE74-D93D3E9346CF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23881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CDF246-3A21-4EE2-ACF6-56C0200E008B}" type="datetimeFigureOut">
              <a:rPr lang="da-DK" smtClean="0"/>
              <a:t>26-10-2020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9A41D-7102-4A03-B33F-93E7F5EC502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279841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CDF246-3A21-4EE2-ACF6-56C0200E008B}" type="datetimeFigureOut">
              <a:rPr lang="da-DK" smtClean="0"/>
              <a:t>26-10-2020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9A41D-7102-4A03-B33F-93E7F5EC502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8771537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-386458" y="1260375"/>
            <a:ext cx="4397254" cy="4336451"/>
          </a:xfrm>
          <a:custGeom>
            <a:avLst/>
            <a:gdLst>
              <a:gd name="connsiteX0" fmla="*/ 1815121 w 7680637"/>
              <a:gd name="connsiteY0" fmla="*/ 575706 h 4910916"/>
              <a:gd name="connsiteX1" fmla="*/ 1958741 w 7680637"/>
              <a:gd name="connsiteY1" fmla="*/ 578860 h 4910916"/>
              <a:gd name="connsiteX2" fmla="*/ 2359375 w 7680637"/>
              <a:gd name="connsiteY2" fmla="*/ 688177 h 4910916"/>
              <a:gd name="connsiteX3" fmla="*/ 2789536 w 7680637"/>
              <a:gd name="connsiteY3" fmla="*/ 948486 h 4910916"/>
              <a:gd name="connsiteX4" fmla="*/ 3102571 w 7680637"/>
              <a:gd name="connsiteY4" fmla="*/ 1217819 h 4910916"/>
              <a:gd name="connsiteX5" fmla="*/ 3332895 w 7680637"/>
              <a:gd name="connsiteY5" fmla="*/ 1453908 h 4910916"/>
              <a:gd name="connsiteX6" fmla="*/ 3547486 w 7680637"/>
              <a:gd name="connsiteY6" fmla="*/ 1699728 h 4910916"/>
              <a:gd name="connsiteX7" fmla="*/ 3559541 w 7680637"/>
              <a:gd name="connsiteY7" fmla="*/ 1711279 h 4910916"/>
              <a:gd name="connsiteX8" fmla="*/ 3594844 w 7680637"/>
              <a:gd name="connsiteY8" fmla="*/ 1754304 h 4910916"/>
              <a:gd name="connsiteX9" fmla="*/ 3608488 w 7680637"/>
              <a:gd name="connsiteY9" fmla="*/ 1774075 h 4910916"/>
              <a:gd name="connsiteX10" fmla="*/ 3859378 w 7680637"/>
              <a:gd name="connsiteY10" fmla="*/ 2104986 h 4910916"/>
              <a:gd name="connsiteX11" fmla="*/ 4127150 w 7680637"/>
              <a:gd name="connsiteY11" fmla="*/ 2531885 h 4910916"/>
              <a:gd name="connsiteX12" fmla="*/ 4318633 w 7680637"/>
              <a:gd name="connsiteY12" fmla="*/ 2969503 h 4910916"/>
              <a:gd name="connsiteX13" fmla="*/ 4397027 w 7680637"/>
              <a:gd name="connsiteY13" fmla="*/ 3404098 h 4910916"/>
              <a:gd name="connsiteX14" fmla="*/ 4225697 w 7680637"/>
              <a:gd name="connsiteY14" fmla="*/ 3994367 h 4910916"/>
              <a:gd name="connsiteX15" fmla="*/ 4062935 w 7680637"/>
              <a:gd name="connsiteY15" fmla="*/ 4183760 h 4910916"/>
              <a:gd name="connsiteX16" fmla="*/ 4026361 w 7680637"/>
              <a:gd name="connsiteY16" fmla="*/ 4222769 h 4910916"/>
              <a:gd name="connsiteX17" fmla="*/ 3960411 w 7680637"/>
              <a:gd name="connsiteY17" fmla="*/ 4276882 h 4910916"/>
              <a:gd name="connsiteX18" fmla="*/ 3930096 w 7680637"/>
              <a:gd name="connsiteY18" fmla="*/ 4294610 h 4910916"/>
              <a:gd name="connsiteX19" fmla="*/ 3581683 w 7680637"/>
              <a:gd name="connsiteY19" fmla="*/ 4498437 h 4910916"/>
              <a:gd name="connsiteX20" fmla="*/ 3065181 w 7680637"/>
              <a:gd name="connsiteY20" fmla="*/ 4687197 h 4910916"/>
              <a:gd name="connsiteX21" fmla="*/ 2281419 w 7680637"/>
              <a:gd name="connsiteY21" fmla="*/ 4850951 h 4910916"/>
              <a:gd name="connsiteX22" fmla="*/ 1509106 w 7680637"/>
              <a:gd name="connsiteY22" fmla="*/ 4910820 h 4910916"/>
              <a:gd name="connsiteX23" fmla="*/ 987175 w 7680637"/>
              <a:gd name="connsiteY23" fmla="*/ 4861062 h 4910916"/>
              <a:gd name="connsiteX24" fmla="*/ 589146 w 7680637"/>
              <a:gd name="connsiteY24" fmla="*/ 4727900 h 4910916"/>
              <a:gd name="connsiteX25" fmla="*/ 309879 w 7680637"/>
              <a:gd name="connsiteY25" fmla="*/ 4528000 h 4910916"/>
              <a:gd name="connsiteX26" fmla="*/ 268865 w 7680637"/>
              <a:gd name="connsiteY26" fmla="*/ 4488072 h 4910916"/>
              <a:gd name="connsiteX27" fmla="*/ 226554 w 7680637"/>
              <a:gd name="connsiteY27" fmla="*/ 4436505 h 4910916"/>
              <a:gd name="connsiteX28" fmla="*/ 218482 w 7680637"/>
              <a:gd name="connsiteY28" fmla="*/ 4421951 h 4910916"/>
              <a:gd name="connsiteX29" fmla="*/ 164739 w 7680637"/>
              <a:gd name="connsiteY29" fmla="*/ 4339798 h 4910916"/>
              <a:gd name="connsiteX30" fmla="*/ 30218 w 7680637"/>
              <a:gd name="connsiteY30" fmla="*/ 3978516 h 4910916"/>
              <a:gd name="connsiteX31" fmla="*/ 6563 w 7680637"/>
              <a:gd name="connsiteY31" fmla="*/ 3481803 h 4910916"/>
              <a:gd name="connsiteX32" fmla="*/ 94549 w 7680637"/>
              <a:gd name="connsiteY32" fmla="*/ 2948010 h 4910916"/>
              <a:gd name="connsiteX33" fmla="*/ 517592 w 7680637"/>
              <a:gd name="connsiteY33" fmla="*/ 1774309 h 4910916"/>
              <a:gd name="connsiteX34" fmla="*/ 854449 w 7680637"/>
              <a:gd name="connsiteY34" fmla="*/ 1197238 h 4910916"/>
              <a:gd name="connsiteX35" fmla="*/ 1142073 w 7680637"/>
              <a:gd name="connsiteY35" fmla="*/ 876277 h 4910916"/>
              <a:gd name="connsiteX36" fmla="*/ 1156923 w 7680637"/>
              <a:gd name="connsiteY36" fmla="*/ 860124 h 4910916"/>
              <a:gd name="connsiteX37" fmla="*/ 1219944 w 7680637"/>
              <a:gd name="connsiteY37" fmla="*/ 808414 h 4910916"/>
              <a:gd name="connsiteX38" fmla="*/ 1243132 w 7680637"/>
              <a:gd name="connsiteY38" fmla="*/ 793623 h 4910916"/>
              <a:gd name="connsiteX39" fmla="*/ 1408343 w 7680637"/>
              <a:gd name="connsiteY39" fmla="*/ 687974 h 4910916"/>
              <a:gd name="connsiteX40" fmla="*/ 1815121 w 7680637"/>
              <a:gd name="connsiteY40" fmla="*/ 575706 h 4910916"/>
              <a:gd name="connsiteX41" fmla="*/ 5284387 w 7680637"/>
              <a:gd name="connsiteY41" fmla="*/ 0 h 4910916"/>
              <a:gd name="connsiteX42" fmla="*/ 7680637 w 7680637"/>
              <a:gd name="connsiteY42" fmla="*/ 0 h 4910916"/>
              <a:gd name="connsiteX43" fmla="*/ 7680637 w 7680637"/>
              <a:gd name="connsiteY43" fmla="*/ 2396248 h 4910916"/>
              <a:gd name="connsiteX44" fmla="*/ 5284387 w 7680637"/>
              <a:gd name="connsiteY44" fmla="*/ 2396248 h 4910916"/>
              <a:gd name="connsiteX0" fmla="*/ 1815121 w 7680637"/>
              <a:gd name="connsiteY0" fmla="*/ 575706 h 4910916"/>
              <a:gd name="connsiteX1" fmla="*/ 1958741 w 7680637"/>
              <a:gd name="connsiteY1" fmla="*/ 578860 h 4910916"/>
              <a:gd name="connsiteX2" fmla="*/ 2359375 w 7680637"/>
              <a:gd name="connsiteY2" fmla="*/ 688177 h 4910916"/>
              <a:gd name="connsiteX3" fmla="*/ 2789536 w 7680637"/>
              <a:gd name="connsiteY3" fmla="*/ 948486 h 4910916"/>
              <a:gd name="connsiteX4" fmla="*/ 3102571 w 7680637"/>
              <a:gd name="connsiteY4" fmla="*/ 1217819 h 4910916"/>
              <a:gd name="connsiteX5" fmla="*/ 3332895 w 7680637"/>
              <a:gd name="connsiteY5" fmla="*/ 1453908 h 4910916"/>
              <a:gd name="connsiteX6" fmla="*/ 3547486 w 7680637"/>
              <a:gd name="connsiteY6" fmla="*/ 1699728 h 4910916"/>
              <a:gd name="connsiteX7" fmla="*/ 3559541 w 7680637"/>
              <a:gd name="connsiteY7" fmla="*/ 1711279 h 4910916"/>
              <a:gd name="connsiteX8" fmla="*/ 3594844 w 7680637"/>
              <a:gd name="connsiteY8" fmla="*/ 1754304 h 4910916"/>
              <a:gd name="connsiteX9" fmla="*/ 3608488 w 7680637"/>
              <a:gd name="connsiteY9" fmla="*/ 1774075 h 4910916"/>
              <a:gd name="connsiteX10" fmla="*/ 3859378 w 7680637"/>
              <a:gd name="connsiteY10" fmla="*/ 2104986 h 4910916"/>
              <a:gd name="connsiteX11" fmla="*/ 4127150 w 7680637"/>
              <a:gd name="connsiteY11" fmla="*/ 2531885 h 4910916"/>
              <a:gd name="connsiteX12" fmla="*/ 4318633 w 7680637"/>
              <a:gd name="connsiteY12" fmla="*/ 2969503 h 4910916"/>
              <a:gd name="connsiteX13" fmla="*/ 4397027 w 7680637"/>
              <a:gd name="connsiteY13" fmla="*/ 3404098 h 4910916"/>
              <a:gd name="connsiteX14" fmla="*/ 4225697 w 7680637"/>
              <a:gd name="connsiteY14" fmla="*/ 3994367 h 4910916"/>
              <a:gd name="connsiteX15" fmla="*/ 4062935 w 7680637"/>
              <a:gd name="connsiteY15" fmla="*/ 4183760 h 4910916"/>
              <a:gd name="connsiteX16" fmla="*/ 4026361 w 7680637"/>
              <a:gd name="connsiteY16" fmla="*/ 4222769 h 4910916"/>
              <a:gd name="connsiteX17" fmla="*/ 3960411 w 7680637"/>
              <a:gd name="connsiteY17" fmla="*/ 4276882 h 4910916"/>
              <a:gd name="connsiteX18" fmla="*/ 3930096 w 7680637"/>
              <a:gd name="connsiteY18" fmla="*/ 4294610 h 4910916"/>
              <a:gd name="connsiteX19" fmla="*/ 3581683 w 7680637"/>
              <a:gd name="connsiteY19" fmla="*/ 4498437 h 4910916"/>
              <a:gd name="connsiteX20" fmla="*/ 3065181 w 7680637"/>
              <a:gd name="connsiteY20" fmla="*/ 4687197 h 4910916"/>
              <a:gd name="connsiteX21" fmla="*/ 2281419 w 7680637"/>
              <a:gd name="connsiteY21" fmla="*/ 4850951 h 4910916"/>
              <a:gd name="connsiteX22" fmla="*/ 1509106 w 7680637"/>
              <a:gd name="connsiteY22" fmla="*/ 4910820 h 4910916"/>
              <a:gd name="connsiteX23" fmla="*/ 987175 w 7680637"/>
              <a:gd name="connsiteY23" fmla="*/ 4861062 h 4910916"/>
              <a:gd name="connsiteX24" fmla="*/ 589146 w 7680637"/>
              <a:gd name="connsiteY24" fmla="*/ 4727900 h 4910916"/>
              <a:gd name="connsiteX25" fmla="*/ 309879 w 7680637"/>
              <a:gd name="connsiteY25" fmla="*/ 4528000 h 4910916"/>
              <a:gd name="connsiteX26" fmla="*/ 268865 w 7680637"/>
              <a:gd name="connsiteY26" fmla="*/ 4488072 h 4910916"/>
              <a:gd name="connsiteX27" fmla="*/ 226554 w 7680637"/>
              <a:gd name="connsiteY27" fmla="*/ 4436505 h 4910916"/>
              <a:gd name="connsiteX28" fmla="*/ 218482 w 7680637"/>
              <a:gd name="connsiteY28" fmla="*/ 4421951 h 4910916"/>
              <a:gd name="connsiteX29" fmla="*/ 164739 w 7680637"/>
              <a:gd name="connsiteY29" fmla="*/ 4339798 h 4910916"/>
              <a:gd name="connsiteX30" fmla="*/ 30218 w 7680637"/>
              <a:gd name="connsiteY30" fmla="*/ 3978516 h 4910916"/>
              <a:gd name="connsiteX31" fmla="*/ 6563 w 7680637"/>
              <a:gd name="connsiteY31" fmla="*/ 3481803 h 4910916"/>
              <a:gd name="connsiteX32" fmla="*/ 94549 w 7680637"/>
              <a:gd name="connsiteY32" fmla="*/ 2948010 h 4910916"/>
              <a:gd name="connsiteX33" fmla="*/ 517592 w 7680637"/>
              <a:gd name="connsiteY33" fmla="*/ 1774309 h 4910916"/>
              <a:gd name="connsiteX34" fmla="*/ 854449 w 7680637"/>
              <a:gd name="connsiteY34" fmla="*/ 1197238 h 4910916"/>
              <a:gd name="connsiteX35" fmla="*/ 1142073 w 7680637"/>
              <a:gd name="connsiteY35" fmla="*/ 876277 h 4910916"/>
              <a:gd name="connsiteX36" fmla="*/ 1156923 w 7680637"/>
              <a:gd name="connsiteY36" fmla="*/ 860124 h 4910916"/>
              <a:gd name="connsiteX37" fmla="*/ 1219944 w 7680637"/>
              <a:gd name="connsiteY37" fmla="*/ 808414 h 4910916"/>
              <a:gd name="connsiteX38" fmla="*/ 1243132 w 7680637"/>
              <a:gd name="connsiteY38" fmla="*/ 793623 h 4910916"/>
              <a:gd name="connsiteX39" fmla="*/ 1408343 w 7680637"/>
              <a:gd name="connsiteY39" fmla="*/ 687974 h 4910916"/>
              <a:gd name="connsiteX40" fmla="*/ 1815121 w 7680637"/>
              <a:gd name="connsiteY40" fmla="*/ 575706 h 4910916"/>
              <a:gd name="connsiteX41" fmla="*/ 5284387 w 7680637"/>
              <a:gd name="connsiteY41" fmla="*/ 2396248 h 4910916"/>
              <a:gd name="connsiteX42" fmla="*/ 7680637 w 7680637"/>
              <a:gd name="connsiteY42" fmla="*/ 0 h 4910916"/>
              <a:gd name="connsiteX43" fmla="*/ 7680637 w 7680637"/>
              <a:gd name="connsiteY43" fmla="*/ 2396248 h 4910916"/>
              <a:gd name="connsiteX44" fmla="*/ 5284387 w 7680637"/>
              <a:gd name="connsiteY44" fmla="*/ 2396248 h 4910916"/>
              <a:gd name="connsiteX0" fmla="*/ 1815121 w 7680637"/>
              <a:gd name="connsiteY0" fmla="*/ 1241 h 4336451"/>
              <a:gd name="connsiteX1" fmla="*/ 1958741 w 7680637"/>
              <a:gd name="connsiteY1" fmla="*/ 4395 h 4336451"/>
              <a:gd name="connsiteX2" fmla="*/ 2359375 w 7680637"/>
              <a:gd name="connsiteY2" fmla="*/ 113712 h 4336451"/>
              <a:gd name="connsiteX3" fmla="*/ 2789536 w 7680637"/>
              <a:gd name="connsiteY3" fmla="*/ 374021 h 4336451"/>
              <a:gd name="connsiteX4" fmla="*/ 3102571 w 7680637"/>
              <a:gd name="connsiteY4" fmla="*/ 643354 h 4336451"/>
              <a:gd name="connsiteX5" fmla="*/ 3332895 w 7680637"/>
              <a:gd name="connsiteY5" fmla="*/ 879443 h 4336451"/>
              <a:gd name="connsiteX6" fmla="*/ 3547486 w 7680637"/>
              <a:gd name="connsiteY6" fmla="*/ 1125263 h 4336451"/>
              <a:gd name="connsiteX7" fmla="*/ 3559541 w 7680637"/>
              <a:gd name="connsiteY7" fmla="*/ 1136814 h 4336451"/>
              <a:gd name="connsiteX8" fmla="*/ 3594844 w 7680637"/>
              <a:gd name="connsiteY8" fmla="*/ 1179839 h 4336451"/>
              <a:gd name="connsiteX9" fmla="*/ 3608488 w 7680637"/>
              <a:gd name="connsiteY9" fmla="*/ 1199610 h 4336451"/>
              <a:gd name="connsiteX10" fmla="*/ 3859378 w 7680637"/>
              <a:gd name="connsiteY10" fmla="*/ 1530521 h 4336451"/>
              <a:gd name="connsiteX11" fmla="*/ 4127150 w 7680637"/>
              <a:gd name="connsiteY11" fmla="*/ 1957420 h 4336451"/>
              <a:gd name="connsiteX12" fmla="*/ 4318633 w 7680637"/>
              <a:gd name="connsiteY12" fmla="*/ 2395038 h 4336451"/>
              <a:gd name="connsiteX13" fmla="*/ 4397027 w 7680637"/>
              <a:gd name="connsiteY13" fmla="*/ 2829633 h 4336451"/>
              <a:gd name="connsiteX14" fmla="*/ 4225697 w 7680637"/>
              <a:gd name="connsiteY14" fmla="*/ 3419902 h 4336451"/>
              <a:gd name="connsiteX15" fmla="*/ 4062935 w 7680637"/>
              <a:gd name="connsiteY15" fmla="*/ 3609295 h 4336451"/>
              <a:gd name="connsiteX16" fmla="*/ 4026361 w 7680637"/>
              <a:gd name="connsiteY16" fmla="*/ 3648304 h 4336451"/>
              <a:gd name="connsiteX17" fmla="*/ 3960411 w 7680637"/>
              <a:gd name="connsiteY17" fmla="*/ 3702417 h 4336451"/>
              <a:gd name="connsiteX18" fmla="*/ 3930096 w 7680637"/>
              <a:gd name="connsiteY18" fmla="*/ 3720145 h 4336451"/>
              <a:gd name="connsiteX19" fmla="*/ 3581683 w 7680637"/>
              <a:gd name="connsiteY19" fmla="*/ 3923972 h 4336451"/>
              <a:gd name="connsiteX20" fmla="*/ 3065181 w 7680637"/>
              <a:gd name="connsiteY20" fmla="*/ 4112732 h 4336451"/>
              <a:gd name="connsiteX21" fmla="*/ 2281419 w 7680637"/>
              <a:gd name="connsiteY21" fmla="*/ 4276486 h 4336451"/>
              <a:gd name="connsiteX22" fmla="*/ 1509106 w 7680637"/>
              <a:gd name="connsiteY22" fmla="*/ 4336355 h 4336451"/>
              <a:gd name="connsiteX23" fmla="*/ 987175 w 7680637"/>
              <a:gd name="connsiteY23" fmla="*/ 4286597 h 4336451"/>
              <a:gd name="connsiteX24" fmla="*/ 589146 w 7680637"/>
              <a:gd name="connsiteY24" fmla="*/ 4153435 h 4336451"/>
              <a:gd name="connsiteX25" fmla="*/ 309879 w 7680637"/>
              <a:gd name="connsiteY25" fmla="*/ 3953535 h 4336451"/>
              <a:gd name="connsiteX26" fmla="*/ 268865 w 7680637"/>
              <a:gd name="connsiteY26" fmla="*/ 3913607 h 4336451"/>
              <a:gd name="connsiteX27" fmla="*/ 226554 w 7680637"/>
              <a:gd name="connsiteY27" fmla="*/ 3862040 h 4336451"/>
              <a:gd name="connsiteX28" fmla="*/ 218482 w 7680637"/>
              <a:gd name="connsiteY28" fmla="*/ 3847486 h 4336451"/>
              <a:gd name="connsiteX29" fmla="*/ 164739 w 7680637"/>
              <a:gd name="connsiteY29" fmla="*/ 3765333 h 4336451"/>
              <a:gd name="connsiteX30" fmla="*/ 30218 w 7680637"/>
              <a:gd name="connsiteY30" fmla="*/ 3404051 h 4336451"/>
              <a:gd name="connsiteX31" fmla="*/ 6563 w 7680637"/>
              <a:gd name="connsiteY31" fmla="*/ 2907338 h 4336451"/>
              <a:gd name="connsiteX32" fmla="*/ 94549 w 7680637"/>
              <a:gd name="connsiteY32" fmla="*/ 2373545 h 4336451"/>
              <a:gd name="connsiteX33" fmla="*/ 517592 w 7680637"/>
              <a:gd name="connsiteY33" fmla="*/ 1199844 h 4336451"/>
              <a:gd name="connsiteX34" fmla="*/ 854449 w 7680637"/>
              <a:gd name="connsiteY34" fmla="*/ 622773 h 4336451"/>
              <a:gd name="connsiteX35" fmla="*/ 1142073 w 7680637"/>
              <a:gd name="connsiteY35" fmla="*/ 301812 h 4336451"/>
              <a:gd name="connsiteX36" fmla="*/ 1156923 w 7680637"/>
              <a:gd name="connsiteY36" fmla="*/ 285659 h 4336451"/>
              <a:gd name="connsiteX37" fmla="*/ 1219944 w 7680637"/>
              <a:gd name="connsiteY37" fmla="*/ 233949 h 4336451"/>
              <a:gd name="connsiteX38" fmla="*/ 1243132 w 7680637"/>
              <a:gd name="connsiteY38" fmla="*/ 219158 h 4336451"/>
              <a:gd name="connsiteX39" fmla="*/ 1408343 w 7680637"/>
              <a:gd name="connsiteY39" fmla="*/ 113509 h 4336451"/>
              <a:gd name="connsiteX40" fmla="*/ 1815121 w 7680637"/>
              <a:gd name="connsiteY40" fmla="*/ 1241 h 4336451"/>
              <a:gd name="connsiteX41" fmla="*/ 5284387 w 7680637"/>
              <a:gd name="connsiteY41" fmla="*/ 1821783 h 4336451"/>
              <a:gd name="connsiteX42" fmla="*/ 7680637 w 7680637"/>
              <a:gd name="connsiteY42" fmla="*/ 1821783 h 4336451"/>
              <a:gd name="connsiteX43" fmla="*/ 5284387 w 7680637"/>
              <a:gd name="connsiteY43" fmla="*/ 1821783 h 4336451"/>
              <a:gd name="connsiteX0" fmla="*/ 1815121 w 4397254"/>
              <a:gd name="connsiteY0" fmla="*/ 1241 h 4336451"/>
              <a:gd name="connsiteX1" fmla="*/ 1958741 w 4397254"/>
              <a:gd name="connsiteY1" fmla="*/ 4395 h 4336451"/>
              <a:gd name="connsiteX2" fmla="*/ 2359375 w 4397254"/>
              <a:gd name="connsiteY2" fmla="*/ 113712 h 4336451"/>
              <a:gd name="connsiteX3" fmla="*/ 2789536 w 4397254"/>
              <a:gd name="connsiteY3" fmla="*/ 374021 h 4336451"/>
              <a:gd name="connsiteX4" fmla="*/ 3102571 w 4397254"/>
              <a:gd name="connsiteY4" fmla="*/ 643354 h 4336451"/>
              <a:gd name="connsiteX5" fmla="*/ 3332895 w 4397254"/>
              <a:gd name="connsiteY5" fmla="*/ 879443 h 4336451"/>
              <a:gd name="connsiteX6" fmla="*/ 3547486 w 4397254"/>
              <a:gd name="connsiteY6" fmla="*/ 1125263 h 4336451"/>
              <a:gd name="connsiteX7" fmla="*/ 3559541 w 4397254"/>
              <a:gd name="connsiteY7" fmla="*/ 1136814 h 4336451"/>
              <a:gd name="connsiteX8" fmla="*/ 3594844 w 4397254"/>
              <a:gd name="connsiteY8" fmla="*/ 1179839 h 4336451"/>
              <a:gd name="connsiteX9" fmla="*/ 3608488 w 4397254"/>
              <a:gd name="connsiteY9" fmla="*/ 1199610 h 4336451"/>
              <a:gd name="connsiteX10" fmla="*/ 3859378 w 4397254"/>
              <a:gd name="connsiteY10" fmla="*/ 1530521 h 4336451"/>
              <a:gd name="connsiteX11" fmla="*/ 4127150 w 4397254"/>
              <a:gd name="connsiteY11" fmla="*/ 1957420 h 4336451"/>
              <a:gd name="connsiteX12" fmla="*/ 4318633 w 4397254"/>
              <a:gd name="connsiteY12" fmla="*/ 2395038 h 4336451"/>
              <a:gd name="connsiteX13" fmla="*/ 4397027 w 4397254"/>
              <a:gd name="connsiteY13" fmla="*/ 2829633 h 4336451"/>
              <a:gd name="connsiteX14" fmla="*/ 4225697 w 4397254"/>
              <a:gd name="connsiteY14" fmla="*/ 3419902 h 4336451"/>
              <a:gd name="connsiteX15" fmla="*/ 4062935 w 4397254"/>
              <a:gd name="connsiteY15" fmla="*/ 3609295 h 4336451"/>
              <a:gd name="connsiteX16" fmla="*/ 4026361 w 4397254"/>
              <a:gd name="connsiteY16" fmla="*/ 3648304 h 4336451"/>
              <a:gd name="connsiteX17" fmla="*/ 3960411 w 4397254"/>
              <a:gd name="connsiteY17" fmla="*/ 3702417 h 4336451"/>
              <a:gd name="connsiteX18" fmla="*/ 3930096 w 4397254"/>
              <a:gd name="connsiteY18" fmla="*/ 3720145 h 4336451"/>
              <a:gd name="connsiteX19" fmla="*/ 3581683 w 4397254"/>
              <a:gd name="connsiteY19" fmla="*/ 3923972 h 4336451"/>
              <a:gd name="connsiteX20" fmla="*/ 3065181 w 4397254"/>
              <a:gd name="connsiteY20" fmla="*/ 4112732 h 4336451"/>
              <a:gd name="connsiteX21" fmla="*/ 2281419 w 4397254"/>
              <a:gd name="connsiteY21" fmla="*/ 4276486 h 4336451"/>
              <a:gd name="connsiteX22" fmla="*/ 1509106 w 4397254"/>
              <a:gd name="connsiteY22" fmla="*/ 4336355 h 4336451"/>
              <a:gd name="connsiteX23" fmla="*/ 987175 w 4397254"/>
              <a:gd name="connsiteY23" fmla="*/ 4286597 h 4336451"/>
              <a:gd name="connsiteX24" fmla="*/ 589146 w 4397254"/>
              <a:gd name="connsiteY24" fmla="*/ 4153435 h 4336451"/>
              <a:gd name="connsiteX25" fmla="*/ 309879 w 4397254"/>
              <a:gd name="connsiteY25" fmla="*/ 3953535 h 4336451"/>
              <a:gd name="connsiteX26" fmla="*/ 268865 w 4397254"/>
              <a:gd name="connsiteY26" fmla="*/ 3913607 h 4336451"/>
              <a:gd name="connsiteX27" fmla="*/ 226554 w 4397254"/>
              <a:gd name="connsiteY27" fmla="*/ 3862040 h 4336451"/>
              <a:gd name="connsiteX28" fmla="*/ 218482 w 4397254"/>
              <a:gd name="connsiteY28" fmla="*/ 3847486 h 4336451"/>
              <a:gd name="connsiteX29" fmla="*/ 164739 w 4397254"/>
              <a:gd name="connsiteY29" fmla="*/ 3765333 h 4336451"/>
              <a:gd name="connsiteX30" fmla="*/ 30218 w 4397254"/>
              <a:gd name="connsiteY30" fmla="*/ 3404051 h 4336451"/>
              <a:gd name="connsiteX31" fmla="*/ 6563 w 4397254"/>
              <a:gd name="connsiteY31" fmla="*/ 2907338 h 4336451"/>
              <a:gd name="connsiteX32" fmla="*/ 94549 w 4397254"/>
              <a:gd name="connsiteY32" fmla="*/ 2373545 h 4336451"/>
              <a:gd name="connsiteX33" fmla="*/ 517592 w 4397254"/>
              <a:gd name="connsiteY33" fmla="*/ 1199844 h 4336451"/>
              <a:gd name="connsiteX34" fmla="*/ 854449 w 4397254"/>
              <a:gd name="connsiteY34" fmla="*/ 622773 h 4336451"/>
              <a:gd name="connsiteX35" fmla="*/ 1142073 w 4397254"/>
              <a:gd name="connsiteY35" fmla="*/ 301812 h 4336451"/>
              <a:gd name="connsiteX36" fmla="*/ 1156923 w 4397254"/>
              <a:gd name="connsiteY36" fmla="*/ 285659 h 4336451"/>
              <a:gd name="connsiteX37" fmla="*/ 1219944 w 4397254"/>
              <a:gd name="connsiteY37" fmla="*/ 233949 h 4336451"/>
              <a:gd name="connsiteX38" fmla="*/ 1243132 w 4397254"/>
              <a:gd name="connsiteY38" fmla="*/ 219158 h 4336451"/>
              <a:gd name="connsiteX39" fmla="*/ 1408343 w 4397254"/>
              <a:gd name="connsiteY39" fmla="*/ 113509 h 4336451"/>
              <a:gd name="connsiteX40" fmla="*/ 1815121 w 4397254"/>
              <a:gd name="connsiteY40" fmla="*/ 1241 h 4336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4397254" h="4336451">
                <a:moveTo>
                  <a:pt x="1815121" y="1241"/>
                </a:moveTo>
                <a:cubicBezTo>
                  <a:pt x="1862318" y="-1137"/>
                  <a:pt x="1910189" y="-102"/>
                  <a:pt x="1958741" y="4395"/>
                </a:cubicBezTo>
                <a:cubicBezTo>
                  <a:pt x="2098628" y="17457"/>
                  <a:pt x="2231379" y="57015"/>
                  <a:pt x="2359375" y="113712"/>
                </a:cubicBezTo>
                <a:cubicBezTo>
                  <a:pt x="2513869" y="182282"/>
                  <a:pt x="2655218" y="272222"/>
                  <a:pt x="2789536" y="374021"/>
                </a:cubicBezTo>
                <a:cubicBezTo>
                  <a:pt x="2899333" y="457559"/>
                  <a:pt x="3002950" y="548021"/>
                  <a:pt x="3102571" y="643354"/>
                </a:cubicBezTo>
                <a:cubicBezTo>
                  <a:pt x="3182202" y="719351"/>
                  <a:pt x="3259630" y="797689"/>
                  <a:pt x="3332895" y="879443"/>
                </a:cubicBezTo>
                <a:cubicBezTo>
                  <a:pt x="3405797" y="960434"/>
                  <a:pt x="3476103" y="1043291"/>
                  <a:pt x="3547486" y="1125263"/>
                </a:cubicBezTo>
                <a:cubicBezTo>
                  <a:pt x="3551145" y="1129408"/>
                  <a:pt x="3555574" y="1132922"/>
                  <a:pt x="3559541" y="1136814"/>
                </a:cubicBezTo>
                <a:lnTo>
                  <a:pt x="3594844" y="1179839"/>
                </a:lnTo>
                <a:cubicBezTo>
                  <a:pt x="3599444" y="1186387"/>
                  <a:pt x="3603581" y="1193315"/>
                  <a:pt x="3608488" y="1199610"/>
                </a:cubicBezTo>
                <a:cubicBezTo>
                  <a:pt x="3695148" y="1307428"/>
                  <a:pt x="3779473" y="1417425"/>
                  <a:pt x="3859378" y="1530521"/>
                </a:cubicBezTo>
                <a:cubicBezTo>
                  <a:pt x="3956253" y="1668069"/>
                  <a:pt x="4046908" y="1809665"/>
                  <a:pt x="4127150" y="1957420"/>
                </a:cubicBezTo>
                <a:cubicBezTo>
                  <a:pt x="4203278" y="2097963"/>
                  <a:pt x="4269448" y="2242711"/>
                  <a:pt x="4318633" y="2395038"/>
                </a:cubicBezTo>
                <a:cubicBezTo>
                  <a:pt x="4364176" y="2536327"/>
                  <a:pt x="4394000" y="2680458"/>
                  <a:pt x="4397027" y="2829633"/>
                </a:cubicBezTo>
                <a:cubicBezTo>
                  <a:pt x="4401223" y="3044022"/>
                  <a:pt x="4347375" y="3241718"/>
                  <a:pt x="4225697" y="3419902"/>
                </a:cubicBezTo>
                <a:cubicBezTo>
                  <a:pt x="4178523" y="3489045"/>
                  <a:pt x="4123864" y="3551893"/>
                  <a:pt x="4062935" y="3609295"/>
                </a:cubicBezTo>
                <a:cubicBezTo>
                  <a:pt x="4050000" y="3621498"/>
                  <a:pt x="4038518" y="3635153"/>
                  <a:pt x="4026361" y="3648304"/>
                </a:cubicBezTo>
                <a:lnTo>
                  <a:pt x="3960411" y="3702417"/>
                </a:lnTo>
                <a:cubicBezTo>
                  <a:pt x="3950306" y="3708327"/>
                  <a:pt x="3939576" y="3713159"/>
                  <a:pt x="3930096" y="3720145"/>
                </a:cubicBezTo>
                <a:cubicBezTo>
                  <a:pt x="3821235" y="3800204"/>
                  <a:pt x="3704076" y="3866689"/>
                  <a:pt x="3581683" y="3923972"/>
                </a:cubicBezTo>
                <a:cubicBezTo>
                  <a:pt x="3415114" y="4001885"/>
                  <a:pt x="3241981" y="4062685"/>
                  <a:pt x="3065181" y="4112732"/>
                </a:cubicBezTo>
                <a:cubicBezTo>
                  <a:pt x="2807878" y="4185956"/>
                  <a:pt x="2545972" y="4237546"/>
                  <a:pt x="2281419" y="4276486"/>
                </a:cubicBezTo>
                <a:cubicBezTo>
                  <a:pt x="2025295" y="4314067"/>
                  <a:pt x="1768171" y="4338178"/>
                  <a:pt x="1509106" y="4336355"/>
                </a:cubicBezTo>
                <a:cubicBezTo>
                  <a:pt x="1333688" y="4334979"/>
                  <a:pt x="1159288" y="4321650"/>
                  <a:pt x="987175" y="4286597"/>
                </a:cubicBezTo>
                <a:cubicBezTo>
                  <a:pt x="848988" y="4258642"/>
                  <a:pt x="715269" y="4216963"/>
                  <a:pt x="589146" y="4153435"/>
                </a:cubicBezTo>
                <a:cubicBezTo>
                  <a:pt x="485705" y="4101209"/>
                  <a:pt x="391685" y="4035954"/>
                  <a:pt x="309879" y="3953535"/>
                </a:cubicBezTo>
                <a:cubicBezTo>
                  <a:pt x="296422" y="3939962"/>
                  <a:pt x="282631" y="3926927"/>
                  <a:pt x="268865" y="3913607"/>
                </a:cubicBezTo>
                <a:lnTo>
                  <a:pt x="226554" y="3862040"/>
                </a:lnTo>
                <a:cubicBezTo>
                  <a:pt x="223819" y="3857134"/>
                  <a:pt x="221677" y="3852011"/>
                  <a:pt x="218482" y="3847486"/>
                </a:cubicBezTo>
                <a:cubicBezTo>
                  <a:pt x="200618" y="3820062"/>
                  <a:pt x="181393" y="3793486"/>
                  <a:pt x="164739" y="3765333"/>
                </a:cubicBezTo>
                <a:cubicBezTo>
                  <a:pt x="97787" y="3653256"/>
                  <a:pt x="55417" y="3531860"/>
                  <a:pt x="30218" y="3404051"/>
                </a:cubicBezTo>
                <a:cubicBezTo>
                  <a:pt x="-2189" y="3239807"/>
                  <a:pt x="-5794" y="3073902"/>
                  <a:pt x="6563" y="2907338"/>
                </a:cubicBezTo>
                <a:cubicBezTo>
                  <a:pt x="19827" y="2726795"/>
                  <a:pt x="51054" y="2548982"/>
                  <a:pt x="94549" y="2373545"/>
                </a:cubicBezTo>
                <a:cubicBezTo>
                  <a:pt x="194967" y="1967715"/>
                  <a:pt x="339184" y="1577558"/>
                  <a:pt x="517592" y="1199844"/>
                </a:cubicBezTo>
                <a:cubicBezTo>
                  <a:pt x="613094" y="997614"/>
                  <a:pt x="722388" y="803389"/>
                  <a:pt x="854449" y="622773"/>
                </a:cubicBezTo>
                <a:cubicBezTo>
                  <a:pt x="939492" y="506147"/>
                  <a:pt x="1031609" y="395627"/>
                  <a:pt x="1142073" y="301812"/>
                </a:cubicBezTo>
                <a:cubicBezTo>
                  <a:pt x="1147644" y="296975"/>
                  <a:pt x="1152023" y="291001"/>
                  <a:pt x="1156923" y="285659"/>
                </a:cubicBezTo>
                <a:lnTo>
                  <a:pt x="1219944" y="233949"/>
                </a:lnTo>
                <a:cubicBezTo>
                  <a:pt x="1227812" y="229081"/>
                  <a:pt x="1236043" y="224975"/>
                  <a:pt x="1243132" y="219158"/>
                </a:cubicBezTo>
                <a:cubicBezTo>
                  <a:pt x="1294110" y="177594"/>
                  <a:pt x="1350030" y="143622"/>
                  <a:pt x="1408343" y="113509"/>
                </a:cubicBezTo>
                <a:cubicBezTo>
                  <a:pt x="1538001" y="46229"/>
                  <a:pt x="1673529" y="8376"/>
                  <a:pt x="1815121" y="1241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279941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946292" y="0"/>
            <a:ext cx="3245708" cy="6857999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1024916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703805" y="0"/>
            <a:ext cx="2784390" cy="6857999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2155903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3361038" cy="6857999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4242738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1"/>
            <a:ext cx="12192000" cy="34290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28277274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1"/>
            <a:ext cx="6096000" cy="34290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6096000" y="1"/>
            <a:ext cx="6096000" cy="34290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344147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1"/>
            <a:ext cx="6096000" cy="34290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3429001"/>
            <a:ext cx="6096000" cy="34290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7006197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"/>
            <a:ext cx="6096000" cy="34290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7" hasCustomPrompt="1"/>
          </p:nvPr>
        </p:nvSpPr>
        <p:spPr>
          <a:xfrm>
            <a:off x="6096000" y="3429001"/>
            <a:ext cx="6096000" cy="34290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3625846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5384800" y="0"/>
            <a:ext cx="6807200" cy="6857999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2250810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1546455" y="0"/>
            <a:ext cx="8999137" cy="4753614"/>
          </a:xfrm>
          <a:custGeom>
            <a:avLst/>
            <a:gdLst>
              <a:gd name="connsiteX0" fmla="*/ 160403 w 8999137"/>
              <a:gd name="connsiteY0" fmla="*/ 0 h 4753614"/>
              <a:gd name="connsiteX1" fmla="*/ 8778621 w 8999137"/>
              <a:gd name="connsiteY1" fmla="*/ 0 h 4753614"/>
              <a:gd name="connsiteX2" fmla="*/ 8830686 w 8999137"/>
              <a:gd name="connsiteY2" fmla="*/ 125692 h 4753614"/>
              <a:gd name="connsiteX3" fmla="*/ 8956500 w 8999137"/>
              <a:gd name="connsiteY3" fmla="*/ 566655 h 4753614"/>
              <a:gd name="connsiteX4" fmla="*/ 8817116 w 8999137"/>
              <a:gd name="connsiteY4" fmla="*/ 1831562 h 4753614"/>
              <a:gd name="connsiteX5" fmla="*/ 8552543 w 8999137"/>
              <a:gd name="connsiteY5" fmla="*/ 2275779 h 4753614"/>
              <a:gd name="connsiteX6" fmla="*/ 8491828 w 8999137"/>
              <a:gd name="connsiteY6" fmla="*/ 2368359 h 4753614"/>
              <a:gd name="connsiteX7" fmla="*/ 8376572 w 8999137"/>
              <a:gd name="connsiteY7" fmla="*/ 2502201 h 4753614"/>
              <a:gd name="connsiteX8" fmla="*/ 8321049 w 8999137"/>
              <a:gd name="connsiteY8" fmla="*/ 2549147 h 4753614"/>
              <a:gd name="connsiteX9" fmla="*/ 7682953 w 8999137"/>
              <a:gd name="connsiteY9" fmla="*/ 3088875 h 4753614"/>
              <a:gd name="connsiteX10" fmla="*/ 6696654 w 8999137"/>
              <a:gd name="connsiteY10" fmla="*/ 3657691 h 4753614"/>
              <a:gd name="connsiteX11" fmla="*/ 5156343 w 8999137"/>
              <a:gd name="connsiteY11" fmla="*/ 4270617 h 4753614"/>
              <a:gd name="connsiteX12" fmla="*/ 3602413 w 8999137"/>
              <a:gd name="connsiteY12" fmla="*/ 4667581 h 4753614"/>
              <a:gd name="connsiteX13" fmla="*/ 2520156 w 8999137"/>
              <a:gd name="connsiteY13" fmla="*/ 4751840 h 4753614"/>
              <a:gd name="connsiteX14" fmla="*/ 1660932 w 8999137"/>
              <a:gd name="connsiteY14" fmla="*/ 4621890 h 4753614"/>
              <a:gd name="connsiteX15" fmla="*/ 1020188 w 8999137"/>
              <a:gd name="connsiteY15" fmla="*/ 4313553 h 4753614"/>
              <a:gd name="connsiteX16" fmla="*/ 922325 w 8999137"/>
              <a:gd name="connsiteY16" fmla="*/ 4246711 h 4753614"/>
              <a:gd name="connsiteX17" fmla="*/ 817674 w 8999137"/>
              <a:gd name="connsiteY17" fmla="*/ 4156590 h 4753614"/>
              <a:gd name="connsiteX18" fmla="*/ 796031 w 8999137"/>
              <a:gd name="connsiteY18" fmla="*/ 4129779 h 4753614"/>
              <a:gd name="connsiteX19" fmla="*/ 657178 w 8999137"/>
              <a:gd name="connsiteY19" fmla="*/ 3981342 h 4753614"/>
              <a:gd name="connsiteX20" fmla="*/ 254230 w 8999137"/>
              <a:gd name="connsiteY20" fmla="*/ 3292333 h 4753614"/>
              <a:gd name="connsiteX21" fmla="*/ 29210 w 8999137"/>
              <a:gd name="connsiteY21" fmla="*/ 2287638 h 4753614"/>
              <a:gd name="connsiteX22" fmla="*/ 18702 w 8999137"/>
              <a:gd name="connsiteY22" fmla="*/ 1167583 h 4753614"/>
              <a:gd name="connsiteX23" fmla="*/ 81464 w 8999137"/>
              <a:gd name="connsiteY23" fmla="*/ 522993 h 4753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999137" h="4753614">
                <a:moveTo>
                  <a:pt x="160403" y="0"/>
                </a:moveTo>
                <a:lnTo>
                  <a:pt x="8778621" y="0"/>
                </a:lnTo>
                <a:lnTo>
                  <a:pt x="8830686" y="125692"/>
                </a:lnTo>
                <a:cubicBezTo>
                  <a:pt x="8884022" y="268426"/>
                  <a:pt x="8926868" y="415063"/>
                  <a:pt x="8956500" y="566655"/>
                </a:cubicBezTo>
                <a:cubicBezTo>
                  <a:pt x="9041356" y="1002437"/>
                  <a:pt x="9001882" y="1424828"/>
                  <a:pt x="8817116" y="1831562"/>
                </a:cubicBezTo>
                <a:cubicBezTo>
                  <a:pt x="8745505" y="1989377"/>
                  <a:pt x="8656388" y="2137016"/>
                  <a:pt x="8552543" y="2275779"/>
                </a:cubicBezTo>
                <a:cubicBezTo>
                  <a:pt x="8530503" y="2305272"/>
                  <a:pt x="8511944" y="2337209"/>
                  <a:pt x="8491828" y="2368359"/>
                </a:cubicBezTo>
                <a:lnTo>
                  <a:pt x="8376572" y="2502201"/>
                </a:lnTo>
                <a:cubicBezTo>
                  <a:pt x="8358065" y="2517851"/>
                  <a:pt x="8337899" y="2531525"/>
                  <a:pt x="8321049" y="2549147"/>
                </a:cubicBezTo>
                <a:cubicBezTo>
                  <a:pt x="8127505" y="2751181"/>
                  <a:pt x="7912204" y="2928481"/>
                  <a:pt x="7682953" y="3088875"/>
                </a:cubicBezTo>
                <a:cubicBezTo>
                  <a:pt x="7370941" y="3307068"/>
                  <a:pt x="7039450" y="3492693"/>
                  <a:pt x="6696654" y="3657691"/>
                </a:cubicBezTo>
                <a:cubicBezTo>
                  <a:pt x="6197909" y="3898611"/>
                  <a:pt x="5682077" y="4097043"/>
                  <a:pt x="5156343" y="4270617"/>
                </a:cubicBezTo>
                <a:cubicBezTo>
                  <a:pt x="4647318" y="4438419"/>
                  <a:pt x="4131460" y="4579103"/>
                  <a:pt x="3602413" y="4667581"/>
                </a:cubicBezTo>
                <a:cubicBezTo>
                  <a:pt x="3244135" y="4727203"/>
                  <a:pt x="2883679" y="4762083"/>
                  <a:pt x="2520156" y="4751840"/>
                </a:cubicBezTo>
                <a:cubicBezTo>
                  <a:pt x="2228356" y="4744000"/>
                  <a:pt x="1940786" y="4706579"/>
                  <a:pt x="1660932" y="4621890"/>
                </a:cubicBezTo>
                <a:cubicBezTo>
                  <a:pt x="1431364" y="4552181"/>
                  <a:pt x="1216374" y="4452545"/>
                  <a:pt x="1020188" y="4313553"/>
                </a:cubicBezTo>
                <a:cubicBezTo>
                  <a:pt x="987911" y="4290659"/>
                  <a:pt x="955143" y="4268980"/>
                  <a:pt x="922325" y="4246711"/>
                </a:cubicBezTo>
                <a:lnTo>
                  <a:pt x="817674" y="4156590"/>
                </a:lnTo>
                <a:cubicBezTo>
                  <a:pt x="810350" y="4147558"/>
                  <a:pt x="804158" y="4137871"/>
                  <a:pt x="796031" y="4129779"/>
                </a:cubicBezTo>
                <a:cubicBezTo>
                  <a:pt x="749835" y="4080201"/>
                  <a:pt x="701165" y="4032838"/>
                  <a:pt x="657178" y="3981342"/>
                </a:cubicBezTo>
                <a:cubicBezTo>
                  <a:pt x="480734" y="3776574"/>
                  <a:pt x="351112" y="3544049"/>
                  <a:pt x="254230" y="3292333"/>
                </a:cubicBezTo>
                <a:cubicBezTo>
                  <a:pt x="129680" y="2968869"/>
                  <a:pt x="63284" y="2631766"/>
                  <a:pt x="29210" y="2287638"/>
                </a:cubicBezTo>
                <a:cubicBezTo>
                  <a:pt x="-7988" y="1914676"/>
                  <a:pt x="-7577" y="1540890"/>
                  <a:pt x="18702" y="1167583"/>
                </a:cubicBezTo>
                <a:cubicBezTo>
                  <a:pt x="33799" y="951712"/>
                  <a:pt x="54828" y="736866"/>
                  <a:pt x="81464" y="522993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2399210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CDF246-3A21-4EE2-ACF6-56C0200E008B}" type="datetimeFigureOut">
              <a:rPr lang="da-DK" smtClean="0"/>
              <a:t>26-10-2020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9A41D-7102-4A03-B33F-93E7F5EC502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556585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6" hasCustomPrompt="1"/>
          </p:nvPr>
        </p:nvSpPr>
        <p:spPr>
          <a:xfrm>
            <a:off x="1325281" y="-1"/>
            <a:ext cx="5195129" cy="4674887"/>
          </a:xfrm>
          <a:custGeom>
            <a:avLst/>
            <a:gdLst>
              <a:gd name="connsiteX0" fmla="*/ 1257458 w 5195129"/>
              <a:gd name="connsiteY0" fmla="*/ 0 h 4674887"/>
              <a:gd name="connsiteX1" fmla="*/ 4888355 w 5195129"/>
              <a:gd name="connsiteY1" fmla="*/ 0 h 4674887"/>
              <a:gd name="connsiteX2" fmla="*/ 4897797 w 5195129"/>
              <a:gd name="connsiteY2" fmla="*/ 10583 h 4674887"/>
              <a:gd name="connsiteX3" fmla="*/ 4991734 w 5195129"/>
              <a:gd name="connsiteY3" fmla="*/ 153016 h 4674887"/>
              <a:gd name="connsiteX4" fmla="*/ 5155578 w 5195129"/>
              <a:gd name="connsiteY4" fmla="*/ 618243 h 4674887"/>
              <a:gd name="connsiteX5" fmla="*/ 5191863 w 5195129"/>
              <a:gd name="connsiteY5" fmla="*/ 1214314 h 4674887"/>
              <a:gd name="connsiteX6" fmla="*/ 5140212 w 5195129"/>
              <a:gd name="connsiteY6" fmla="*/ 1702059 h 4674887"/>
              <a:gd name="connsiteX7" fmla="*/ 5065164 w 5195129"/>
              <a:gd name="connsiteY7" fmla="*/ 2086547 h 4674887"/>
              <a:gd name="connsiteX8" fmla="*/ 4969982 w 5195129"/>
              <a:gd name="connsiteY8" fmla="*/ 2462239 h 4674887"/>
              <a:gd name="connsiteX9" fmla="*/ 4966842 w 5195129"/>
              <a:gd name="connsiteY9" fmla="*/ 2481819 h 4674887"/>
              <a:gd name="connsiteX10" fmla="*/ 4948658 w 5195129"/>
              <a:gd name="connsiteY10" fmla="*/ 2545371 h 4674887"/>
              <a:gd name="connsiteX11" fmla="*/ 4938561 w 5195129"/>
              <a:gd name="connsiteY11" fmla="*/ 2572055 h 4674887"/>
              <a:gd name="connsiteX12" fmla="*/ 4784773 w 5195129"/>
              <a:gd name="connsiteY12" fmla="*/ 3040688 h 4674887"/>
              <a:gd name="connsiteX13" fmla="*/ 4548619 w 5195129"/>
              <a:gd name="connsiteY13" fmla="*/ 3590655 h 4674887"/>
              <a:gd name="connsiteX14" fmla="*/ 4250458 w 5195129"/>
              <a:gd name="connsiteY14" fmla="*/ 4073335 h 4674887"/>
              <a:gd name="connsiteX15" fmla="*/ 3878856 w 5195129"/>
              <a:gd name="connsiteY15" fmla="*/ 4443497 h 4674887"/>
              <a:gd name="connsiteX16" fmla="*/ 3186482 w 5195129"/>
              <a:gd name="connsiteY16" fmla="*/ 4674862 h 4674887"/>
              <a:gd name="connsiteX17" fmla="*/ 2891514 w 5195129"/>
              <a:gd name="connsiteY17" fmla="*/ 4643798 h 4674887"/>
              <a:gd name="connsiteX18" fmla="*/ 2828700 w 5195129"/>
              <a:gd name="connsiteY18" fmla="*/ 4634421 h 4674887"/>
              <a:gd name="connsiteX19" fmla="*/ 2731286 w 5195129"/>
              <a:gd name="connsiteY19" fmla="*/ 4606548 h 4674887"/>
              <a:gd name="connsiteX20" fmla="*/ 2693489 w 5195129"/>
              <a:gd name="connsiteY20" fmla="*/ 4588909 h 4674887"/>
              <a:gd name="connsiteX21" fmla="*/ 2259009 w 5195129"/>
              <a:gd name="connsiteY21" fmla="*/ 4386231 h 4674887"/>
              <a:gd name="connsiteX22" fmla="*/ 1725702 w 5195129"/>
              <a:gd name="connsiteY22" fmla="*/ 4009169 h 4674887"/>
              <a:gd name="connsiteX23" fmla="*/ 1036282 w 5195129"/>
              <a:gd name="connsiteY23" fmla="*/ 3354127 h 4674887"/>
              <a:gd name="connsiteX24" fmla="*/ 456082 w 5195129"/>
              <a:gd name="connsiteY24" fmla="*/ 2640093 h 4674887"/>
              <a:gd name="connsiteX25" fmla="*/ 152116 w 5195129"/>
              <a:gd name="connsiteY25" fmla="*/ 2096603 h 4674887"/>
              <a:gd name="connsiteX26" fmla="*/ 13326 w 5195129"/>
              <a:gd name="connsiteY26" fmla="*/ 1617813 h 4674887"/>
              <a:gd name="connsiteX27" fmla="*/ 19959 w 5195129"/>
              <a:gd name="connsiteY27" fmla="*/ 1209959 h 4674887"/>
              <a:gd name="connsiteX28" fmla="*/ 31259 w 5195129"/>
              <a:gd name="connsiteY28" fmla="*/ 1142921 h 4674887"/>
              <a:gd name="connsiteX29" fmla="*/ 53053 w 5195129"/>
              <a:gd name="connsiteY29" fmla="*/ 1066752 h 4674887"/>
              <a:gd name="connsiteX30" fmla="*/ 61817 w 5195129"/>
              <a:gd name="connsiteY30" fmla="*/ 1049035 h 4674887"/>
              <a:gd name="connsiteX31" fmla="*/ 105769 w 5195129"/>
              <a:gd name="connsiteY31" fmla="*/ 941036 h 4674887"/>
              <a:gd name="connsiteX32" fmla="*/ 367836 w 5195129"/>
              <a:gd name="connsiteY32" fmla="*/ 565570 h 4674887"/>
              <a:gd name="connsiteX33" fmla="*/ 837097 w 5195129"/>
              <a:gd name="connsiteY33" fmla="*/ 206920 h 4674887"/>
              <a:gd name="connsiteX34" fmla="*/ 1121761 w 5195129"/>
              <a:gd name="connsiteY34" fmla="*/ 57235 h 4674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</a:cxnLst>
            <a:rect l="l" t="t" r="r" b="b"/>
            <a:pathLst>
              <a:path w="5195129" h="4674887">
                <a:moveTo>
                  <a:pt x="1257458" y="0"/>
                </a:moveTo>
                <a:lnTo>
                  <a:pt x="4888355" y="0"/>
                </a:lnTo>
                <a:lnTo>
                  <a:pt x="4897797" y="10583"/>
                </a:lnTo>
                <a:cubicBezTo>
                  <a:pt x="4932002" y="55083"/>
                  <a:pt x="4963329" y="102548"/>
                  <a:pt x="4991734" y="153016"/>
                </a:cubicBezTo>
                <a:cubicBezTo>
                  <a:pt x="5073471" y="298496"/>
                  <a:pt x="5124502" y="454903"/>
                  <a:pt x="5155578" y="618243"/>
                </a:cubicBezTo>
                <a:cubicBezTo>
                  <a:pt x="5192956" y="815490"/>
                  <a:pt x="5200577" y="1014331"/>
                  <a:pt x="5191863" y="1214314"/>
                </a:cubicBezTo>
                <a:cubicBezTo>
                  <a:pt x="5184425" y="1378006"/>
                  <a:pt x="5166047" y="1540340"/>
                  <a:pt x="5140212" y="1702059"/>
                </a:cubicBezTo>
                <a:cubicBezTo>
                  <a:pt x="5119763" y="1831189"/>
                  <a:pt x="5095537" y="1959748"/>
                  <a:pt x="5065164" y="2086547"/>
                </a:cubicBezTo>
                <a:cubicBezTo>
                  <a:pt x="5035290" y="2212477"/>
                  <a:pt x="5001840" y="2337131"/>
                  <a:pt x="4969982" y="2462239"/>
                </a:cubicBezTo>
                <a:cubicBezTo>
                  <a:pt x="4968404" y="2468613"/>
                  <a:pt x="4967964" y="2475314"/>
                  <a:pt x="4966842" y="2481819"/>
                </a:cubicBezTo>
                <a:lnTo>
                  <a:pt x="4948658" y="2545371"/>
                </a:lnTo>
                <a:cubicBezTo>
                  <a:pt x="4945367" y="2554287"/>
                  <a:pt x="4941394" y="2563009"/>
                  <a:pt x="4938561" y="2572055"/>
                </a:cubicBezTo>
                <a:cubicBezTo>
                  <a:pt x="4891773" y="2729547"/>
                  <a:pt x="4841279" y="2886230"/>
                  <a:pt x="4784773" y="3040688"/>
                </a:cubicBezTo>
                <a:cubicBezTo>
                  <a:pt x="4715843" y="3228242"/>
                  <a:pt x="4638756" y="3412454"/>
                  <a:pt x="4548619" y="3590655"/>
                </a:cubicBezTo>
                <a:cubicBezTo>
                  <a:pt x="4462746" y="3759964"/>
                  <a:pt x="4366041" y="3922386"/>
                  <a:pt x="4250458" y="4073335"/>
                </a:cubicBezTo>
                <a:cubicBezTo>
                  <a:pt x="4143196" y="4213270"/>
                  <a:pt x="4022542" y="4339769"/>
                  <a:pt x="3878856" y="4443497"/>
                </a:cubicBezTo>
                <a:cubicBezTo>
                  <a:pt x="3672253" y="4592420"/>
                  <a:pt x="3442748" y="4673364"/>
                  <a:pt x="3186482" y="4674862"/>
                </a:cubicBezTo>
                <a:cubicBezTo>
                  <a:pt x="3087070" y="4675486"/>
                  <a:pt x="2988750" y="4664545"/>
                  <a:pt x="2891514" y="4643798"/>
                </a:cubicBezTo>
                <a:cubicBezTo>
                  <a:pt x="2870856" y="4639405"/>
                  <a:pt x="2849760" y="4637412"/>
                  <a:pt x="2828700" y="4634421"/>
                </a:cubicBezTo>
                <a:lnTo>
                  <a:pt x="2731286" y="4606548"/>
                </a:lnTo>
                <a:cubicBezTo>
                  <a:pt x="2718686" y="4600669"/>
                  <a:pt x="2706718" y="4593450"/>
                  <a:pt x="2693489" y="4588909"/>
                </a:cubicBezTo>
                <a:cubicBezTo>
                  <a:pt x="2541742" y="4536644"/>
                  <a:pt x="2397648" y="4467102"/>
                  <a:pt x="2259009" y="4386231"/>
                </a:cubicBezTo>
                <a:cubicBezTo>
                  <a:pt x="2070375" y="4276141"/>
                  <a:pt x="1894025" y="4148078"/>
                  <a:pt x="1725702" y="4009169"/>
                </a:cubicBezTo>
                <a:cubicBezTo>
                  <a:pt x="1480355" y="3807273"/>
                  <a:pt x="1253033" y="3586266"/>
                  <a:pt x="1036282" y="3354127"/>
                </a:cubicBezTo>
                <a:cubicBezTo>
                  <a:pt x="826552" y="3129305"/>
                  <a:pt x="629305" y="2894407"/>
                  <a:pt x="456082" y="2640093"/>
                </a:cubicBezTo>
                <a:cubicBezTo>
                  <a:pt x="338927" y="2467797"/>
                  <a:pt x="234138" y="2288421"/>
                  <a:pt x="152116" y="2096603"/>
                </a:cubicBezTo>
                <a:cubicBezTo>
                  <a:pt x="86077" y="1942724"/>
                  <a:pt x="36464" y="1783939"/>
                  <a:pt x="13326" y="1617813"/>
                </a:cubicBezTo>
                <a:cubicBezTo>
                  <a:pt x="-5531" y="1481481"/>
                  <a:pt x="-5295" y="1345552"/>
                  <a:pt x="19959" y="1209959"/>
                </a:cubicBezTo>
                <a:cubicBezTo>
                  <a:pt x="24128" y="1187644"/>
                  <a:pt x="27546" y="1165366"/>
                  <a:pt x="31259" y="1142921"/>
                </a:cubicBezTo>
                <a:lnTo>
                  <a:pt x="53053" y="1066752"/>
                </a:lnTo>
                <a:cubicBezTo>
                  <a:pt x="55998" y="1060766"/>
                  <a:pt x="59555" y="1055213"/>
                  <a:pt x="61817" y="1049035"/>
                </a:cubicBezTo>
                <a:cubicBezTo>
                  <a:pt x="76541" y="1013058"/>
                  <a:pt x="89516" y="976325"/>
                  <a:pt x="105769" y="941036"/>
                </a:cubicBezTo>
                <a:cubicBezTo>
                  <a:pt x="170030" y="799921"/>
                  <a:pt x="260001" y="676524"/>
                  <a:pt x="367836" y="565570"/>
                </a:cubicBezTo>
                <a:cubicBezTo>
                  <a:pt x="506395" y="422961"/>
                  <a:pt x="666033" y="307366"/>
                  <a:pt x="837097" y="206920"/>
                </a:cubicBezTo>
                <a:cubicBezTo>
                  <a:pt x="929764" y="152419"/>
                  <a:pt x="1024798" y="102766"/>
                  <a:pt x="1121761" y="57235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9445632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014651" y="-417819"/>
            <a:ext cx="4162698" cy="4505112"/>
          </a:xfrm>
          <a:custGeom>
            <a:avLst/>
            <a:gdLst>
              <a:gd name="connsiteX0" fmla="*/ 984250 w 1968500"/>
              <a:gd name="connsiteY0" fmla="*/ 0 h 2130425"/>
              <a:gd name="connsiteX1" fmla="*/ 1203975 w 1968500"/>
              <a:gd name="connsiteY1" fmla="*/ 52481 h 2130425"/>
              <a:gd name="connsiteX2" fmla="*/ 1748684 w 1968500"/>
              <a:gd name="connsiteY2" fmla="*/ 367970 h 2130425"/>
              <a:gd name="connsiteX3" fmla="*/ 1968500 w 1968500"/>
              <a:gd name="connsiteY3" fmla="*/ 749122 h 2130425"/>
              <a:gd name="connsiteX4" fmla="*/ 1968500 w 1968500"/>
              <a:gd name="connsiteY4" fmla="*/ 1381303 h 2130425"/>
              <a:gd name="connsiteX5" fmla="*/ 1748684 w 1968500"/>
              <a:gd name="connsiteY5" fmla="*/ 1762455 h 2130425"/>
              <a:gd name="connsiteX6" fmla="*/ 1203975 w 1968500"/>
              <a:gd name="connsiteY6" fmla="*/ 2077944 h 2130425"/>
              <a:gd name="connsiteX7" fmla="*/ 764526 w 1968500"/>
              <a:gd name="connsiteY7" fmla="*/ 2077944 h 2130425"/>
              <a:gd name="connsiteX8" fmla="*/ 219816 w 1968500"/>
              <a:gd name="connsiteY8" fmla="*/ 1762455 h 2130425"/>
              <a:gd name="connsiteX9" fmla="*/ 0 w 1968500"/>
              <a:gd name="connsiteY9" fmla="*/ 1381303 h 2130425"/>
              <a:gd name="connsiteX10" fmla="*/ 0 w 1968500"/>
              <a:gd name="connsiteY10" fmla="*/ 749122 h 2130425"/>
              <a:gd name="connsiteX11" fmla="*/ 219816 w 1968500"/>
              <a:gd name="connsiteY11" fmla="*/ 367970 h 2130425"/>
              <a:gd name="connsiteX12" fmla="*/ 764526 w 1968500"/>
              <a:gd name="connsiteY12" fmla="*/ 52481 h 2130425"/>
              <a:gd name="connsiteX13" fmla="*/ 984250 w 1968500"/>
              <a:gd name="connsiteY13" fmla="*/ 0 h 213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68500" h="2130425">
                <a:moveTo>
                  <a:pt x="984250" y="0"/>
                </a:moveTo>
                <a:cubicBezTo>
                  <a:pt x="1063902" y="0"/>
                  <a:pt x="1143553" y="17494"/>
                  <a:pt x="1203975" y="52481"/>
                </a:cubicBezTo>
                <a:lnTo>
                  <a:pt x="1748684" y="367970"/>
                </a:lnTo>
                <a:cubicBezTo>
                  <a:pt x="1869620" y="437945"/>
                  <a:pt x="1968500" y="609473"/>
                  <a:pt x="1968500" y="749122"/>
                </a:cubicBezTo>
                <a:lnTo>
                  <a:pt x="1968500" y="1381303"/>
                </a:lnTo>
                <a:cubicBezTo>
                  <a:pt x="1968500" y="1520952"/>
                  <a:pt x="1869620" y="1692480"/>
                  <a:pt x="1748684" y="1762455"/>
                </a:cubicBezTo>
                <a:lnTo>
                  <a:pt x="1203975" y="2077944"/>
                </a:lnTo>
                <a:cubicBezTo>
                  <a:pt x="1083131" y="2147919"/>
                  <a:pt x="885370" y="2147919"/>
                  <a:pt x="764526" y="2077944"/>
                </a:cubicBezTo>
                <a:lnTo>
                  <a:pt x="219816" y="1762455"/>
                </a:lnTo>
                <a:cubicBezTo>
                  <a:pt x="98881" y="1692480"/>
                  <a:pt x="0" y="1520952"/>
                  <a:pt x="0" y="1381303"/>
                </a:cubicBezTo>
                <a:lnTo>
                  <a:pt x="0" y="749122"/>
                </a:lnTo>
                <a:cubicBezTo>
                  <a:pt x="0" y="609473"/>
                  <a:pt x="98881" y="437945"/>
                  <a:pt x="219816" y="367970"/>
                </a:cubicBezTo>
                <a:lnTo>
                  <a:pt x="764526" y="52481"/>
                </a:lnTo>
                <a:cubicBezTo>
                  <a:pt x="824948" y="17494"/>
                  <a:pt x="904599" y="0"/>
                  <a:pt x="984250" y="0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42924486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 bwMode="auto">
          <a:xfrm>
            <a:off x="-1" y="0"/>
            <a:ext cx="5511115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txBody>
          <a:bodyPr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710555" y="2562589"/>
            <a:ext cx="1601118" cy="1732822"/>
          </a:xfrm>
          <a:custGeom>
            <a:avLst/>
            <a:gdLst>
              <a:gd name="connsiteX0" fmla="*/ 984250 w 1968500"/>
              <a:gd name="connsiteY0" fmla="*/ 0 h 2130425"/>
              <a:gd name="connsiteX1" fmla="*/ 1203975 w 1968500"/>
              <a:gd name="connsiteY1" fmla="*/ 52481 h 2130425"/>
              <a:gd name="connsiteX2" fmla="*/ 1748684 w 1968500"/>
              <a:gd name="connsiteY2" fmla="*/ 367970 h 2130425"/>
              <a:gd name="connsiteX3" fmla="*/ 1968500 w 1968500"/>
              <a:gd name="connsiteY3" fmla="*/ 749122 h 2130425"/>
              <a:gd name="connsiteX4" fmla="*/ 1968500 w 1968500"/>
              <a:gd name="connsiteY4" fmla="*/ 1381303 h 2130425"/>
              <a:gd name="connsiteX5" fmla="*/ 1748684 w 1968500"/>
              <a:gd name="connsiteY5" fmla="*/ 1762455 h 2130425"/>
              <a:gd name="connsiteX6" fmla="*/ 1203975 w 1968500"/>
              <a:gd name="connsiteY6" fmla="*/ 2077944 h 2130425"/>
              <a:gd name="connsiteX7" fmla="*/ 764526 w 1968500"/>
              <a:gd name="connsiteY7" fmla="*/ 2077944 h 2130425"/>
              <a:gd name="connsiteX8" fmla="*/ 219816 w 1968500"/>
              <a:gd name="connsiteY8" fmla="*/ 1762455 h 2130425"/>
              <a:gd name="connsiteX9" fmla="*/ 0 w 1968500"/>
              <a:gd name="connsiteY9" fmla="*/ 1381303 h 2130425"/>
              <a:gd name="connsiteX10" fmla="*/ 0 w 1968500"/>
              <a:gd name="connsiteY10" fmla="*/ 749122 h 2130425"/>
              <a:gd name="connsiteX11" fmla="*/ 219816 w 1968500"/>
              <a:gd name="connsiteY11" fmla="*/ 367970 h 2130425"/>
              <a:gd name="connsiteX12" fmla="*/ 764526 w 1968500"/>
              <a:gd name="connsiteY12" fmla="*/ 52481 h 2130425"/>
              <a:gd name="connsiteX13" fmla="*/ 984250 w 1968500"/>
              <a:gd name="connsiteY13" fmla="*/ 0 h 213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1968500" h="2130425">
                <a:moveTo>
                  <a:pt x="984250" y="0"/>
                </a:moveTo>
                <a:cubicBezTo>
                  <a:pt x="1063902" y="0"/>
                  <a:pt x="1143553" y="17494"/>
                  <a:pt x="1203975" y="52481"/>
                </a:cubicBezTo>
                <a:lnTo>
                  <a:pt x="1748684" y="367970"/>
                </a:lnTo>
                <a:cubicBezTo>
                  <a:pt x="1869620" y="437945"/>
                  <a:pt x="1968500" y="609473"/>
                  <a:pt x="1968500" y="749122"/>
                </a:cubicBezTo>
                <a:lnTo>
                  <a:pt x="1968500" y="1381303"/>
                </a:lnTo>
                <a:cubicBezTo>
                  <a:pt x="1968500" y="1520952"/>
                  <a:pt x="1869620" y="1692480"/>
                  <a:pt x="1748684" y="1762455"/>
                </a:cubicBezTo>
                <a:lnTo>
                  <a:pt x="1203975" y="2077944"/>
                </a:lnTo>
                <a:cubicBezTo>
                  <a:pt x="1083131" y="2147919"/>
                  <a:pt x="885370" y="2147919"/>
                  <a:pt x="764526" y="2077944"/>
                </a:cubicBezTo>
                <a:lnTo>
                  <a:pt x="219816" y="1762455"/>
                </a:lnTo>
                <a:cubicBezTo>
                  <a:pt x="98881" y="1692480"/>
                  <a:pt x="0" y="1520952"/>
                  <a:pt x="0" y="1381303"/>
                </a:cubicBezTo>
                <a:lnTo>
                  <a:pt x="0" y="749122"/>
                </a:lnTo>
                <a:cubicBezTo>
                  <a:pt x="0" y="609473"/>
                  <a:pt x="98881" y="437945"/>
                  <a:pt x="219816" y="367970"/>
                </a:cubicBezTo>
                <a:lnTo>
                  <a:pt x="764526" y="52481"/>
                </a:lnTo>
                <a:cubicBezTo>
                  <a:pt x="824948" y="17494"/>
                  <a:pt x="904599" y="0"/>
                  <a:pt x="984250" y="0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38433441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6096001" y="1219148"/>
            <a:ext cx="4305300" cy="4419704"/>
          </a:xfrm>
          <a:custGeom>
            <a:avLst/>
            <a:gdLst>
              <a:gd name="connsiteX0" fmla="*/ 0 w 8116779"/>
              <a:gd name="connsiteY0" fmla="*/ 1301629 h 4419704"/>
              <a:gd name="connsiteX1" fmla="*/ 1864712 w 8116779"/>
              <a:gd name="connsiteY1" fmla="*/ 1301629 h 4419704"/>
              <a:gd name="connsiteX2" fmla="*/ 1864712 w 8116779"/>
              <a:gd name="connsiteY2" fmla="*/ 3118073 h 4419704"/>
              <a:gd name="connsiteX3" fmla="*/ 0 w 8116779"/>
              <a:gd name="connsiteY3" fmla="*/ 3118073 h 4419704"/>
              <a:gd name="connsiteX4" fmla="*/ 6799278 w 8116779"/>
              <a:gd name="connsiteY4" fmla="*/ 0 h 4419704"/>
              <a:gd name="connsiteX5" fmla="*/ 6880799 w 8116779"/>
              <a:gd name="connsiteY5" fmla="*/ 0 h 4419704"/>
              <a:gd name="connsiteX6" fmla="*/ 6908107 w 8116779"/>
              <a:gd name="connsiteY6" fmla="*/ 3274 h 4419704"/>
              <a:gd name="connsiteX7" fmla="*/ 7102842 w 8116779"/>
              <a:gd name="connsiteY7" fmla="*/ 26396 h 4419704"/>
              <a:gd name="connsiteX8" fmla="*/ 7597553 w 8116779"/>
              <a:gd name="connsiteY8" fmla="*/ 291168 h 4419704"/>
              <a:gd name="connsiteX9" fmla="*/ 7837931 w 8116779"/>
              <a:gd name="connsiteY9" fmla="*/ 629807 h 4419704"/>
              <a:gd name="connsiteX10" fmla="*/ 8005359 w 8116779"/>
              <a:gd name="connsiteY10" fmla="*/ 1103903 h 4419704"/>
              <a:gd name="connsiteX11" fmla="*/ 8076516 w 8116779"/>
              <a:gd name="connsiteY11" fmla="*/ 1510680 h 4419704"/>
              <a:gd name="connsiteX12" fmla="*/ 8104819 w 8116779"/>
              <a:gd name="connsiteY12" fmla="*/ 1839293 h 4419704"/>
              <a:gd name="connsiteX13" fmla="*/ 8114786 w 8116779"/>
              <a:gd name="connsiteY13" fmla="*/ 2165449 h 4419704"/>
              <a:gd name="connsiteX14" fmla="*/ 8116779 w 8116779"/>
              <a:gd name="connsiteY14" fmla="*/ 2182025 h 4419704"/>
              <a:gd name="connsiteX15" fmla="*/ 8116779 w 8116779"/>
              <a:gd name="connsiteY15" fmla="*/ 2237680 h 4419704"/>
              <a:gd name="connsiteX16" fmla="*/ 8114786 w 8116779"/>
              <a:gd name="connsiteY16" fmla="*/ 2261619 h 4419704"/>
              <a:gd name="connsiteX17" fmla="*/ 8098840 w 8116779"/>
              <a:gd name="connsiteY17" fmla="*/ 2676581 h 4419704"/>
              <a:gd name="connsiteX18" fmla="*/ 8035059 w 8116779"/>
              <a:gd name="connsiteY18" fmla="*/ 3176458 h 4419704"/>
              <a:gd name="connsiteX19" fmla="*/ 7905501 w 8116779"/>
              <a:gd name="connsiteY19" fmla="*/ 3636229 h 4419704"/>
              <a:gd name="connsiteX20" fmla="*/ 7690435 w 8116779"/>
              <a:gd name="connsiteY20" fmla="*/ 4021930 h 4419704"/>
              <a:gd name="connsiteX21" fmla="*/ 7183567 w 8116779"/>
              <a:gd name="connsiteY21" fmla="*/ 4369574 h 4419704"/>
              <a:gd name="connsiteX22" fmla="*/ 6937605 w 8116779"/>
              <a:gd name="connsiteY22" fmla="*/ 4412746 h 4419704"/>
              <a:gd name="connsiteX23" fmla="*/ 6884587 w 8116779"/>
              <a:gd name="connsiteY23" fmla="*/ 4419704 h 4419704"/>
              <a:gd name="connsiteX24" fmla="*/ 6799278 w 8116779"/>
              <a:gd name="connsiteY24" fmla="*/ 4419704 h 4419704"/>
              <a:gd name="connsiteX25" fmla="*/ 6764597 w 8116779"/>
              <a:gd name="connsiteY25" fmla="*/ 4414180 h 4419704"/>
              <a:gd name="connsiteX26" fmla="*/ 6365957 w 8116779"/>
              <a:gd name="connsiteY26" fmla="*/ 4350749 h 4419704"/>
              <a:gd name="connsiteX27" fmla="*/ 5846930 w 8116779"/>
              <a:gd name="connsiteY27" fmla="*/ 4169049 h 4419704"/>
              <a:gd name="connsiteX28" fmla="*/ 5137152 w 8116779"/>
              <a:gd name="connsiteY28" fmla="*/ 3798490 h 4419704"/>
              <a:gd name="connsiteX29" fmla="*/ 4502121 w 8116779"/>
              <a:gd name="connsiteY29" fmla="*/ 3354883 h 4419704"/>
              <a:gd name="connsiteX30" fmla="*/ 4130192 w 8116779"/>
              <a:gd name="connsiteY30" fmla="*/ 2985347 h 4419704"/>
              <a:gd name="connsiteX31" fmla="*/ 3906953 w 8116779"/>
              <a:gd name="connsiteY31" fmla="*/ 2629927 h 4419704"/>
              <a:gd name="connsiteX32" fmla="*/ 3817859 w 8116779"/>
              <a:gd name="connsiteY32" fmla="*/ 2298246 h 4419704"/>
              <a:gd name="connsiteX33" fmla="*/ 3811479 w 8116779"/>
              <a:gd name="connsiteY33" fmla="*/ 2241363 h 4419704"/>
              <a:gd name="connsiteX34" fmla="*/ 3811479 w 8116779"/>
              <a:gd name="connsiteY34" fmla="*/ 2174659 h 4419704"/>
              <a:gd name="connsiteX35" fmla="*/ 3814470 w 8116779"/>
              <a:gd name="connsiteY35" fmla="*/ 2158288 h 4419704"/>
              <a:gd name="connsiteX36" fmla="*/ 3825034 w 8116779"/>
              <a:gd name="connsiteY36" fmla="*/ 2060687 h 4419704"/>
              <a:gd name="connsiteX37" fmla="*/ 3950207 w 8116779"/>
              <a:gd name="connsiteY37" fmla="*/ 1696061 h 4419704"/>
              <a:gd name="connsiteX38" fmla="*/ 4246992 w 8116779"/>
              <a:gd name="connsiteY38" fmla="*/ 1297060 h 4419704"/>
              <a:gd name="connsiteX39" fmla="*/ 4653605 w 8116779"/>
              <a:gd name="connsiteY39" fmla="*/ 940210 h 4419704"/>
              <a:gd name="connsiteX40" fmla="*/ 5725146 w 8116779"/>
              <a:gd name="connsiteY40" fmla="*/ 301195 h 4419704"/>
              <a:gd name="connsiteX41" fmla="*/ 6351607 w 8116779"/>
              <a:gd name="connsiteY41" fmla="*/ 68750 h 4419704"/>
              <a:gd name="connsiteX42" fmla="*/ 6777552 w 8116779"/>
              <a:gd name="connsiteY42" fmla="*/ 3069 h 4419704"/>
              <a:gd name="connsiteX43" fmla="*/ 6799278 w 8116779"/>
              <a:gd name="connsiteY43" fmla="*/ 0 h 4419704"/>
              <a:gd name="connsiteX0" fmla="*/ 0 w 8116779"/>
              <a:gd name="connsiteY0" fmla="*/ 1301629 h 4419704"/>
              <a:gd name="connsiteX1" fmla="*/ 1864712 w 8116779"/>
              <a:gd name="connsiteY1" fmla="*/ 3118073 h 4419704"/>
              <a:gd name="connsiteX2" fmla="*/ 0 w 8116779"/>
              <a:gd name="connsiteY2" fmla="*/ 3118073 h 4419704"/>
              <a:gd name="connsiteX3" fmla="*/ 0 w 8116779"/>
              <a:gd name="connsiteY3" fmla="*/ 1301629 h 4419704"/>
              <a:gd name="connsiteX4" fmla="*/ 6799278 w 8116779"/>
              <a:gd name="connsiteY4" fmla="*/ 0 h 4419704"/>
              <a:gd name="connsiteX5" fmla="*/ 6880799 w 8116779"/>
              <a:gd name="connsiteY5" fmla="*/ 0 h 4419704"/>
              <a:gd name="connsiteX6" fmla="*/ 6908107 w 8116779"/>
              <a:gd name="connsiteY6" fmla="*/ 3274 h 4419704"/>
              <a:gd name="connsiteX7" fmla="*/ 7102842 w 8116779"/>
              <a:gd name="connsiteY7" fmla="*/ 26396 h 4419704"/>
              <a:gd name="connsiteX8" fmla="*/ 7597553 w 8116779"/>
              <a:gd name="connsiteY8" fmla="*/ 291168 h 4419704"/>
              <a:gd name="connsiteX9" fmla="*/ 7837931 w 8116779"/>
              <a:gd name="connsiteY9" fmla="*/ 629807 h 4419704"/>
              <a:gd name="connsiteX10" fmla="*/ 8005359 w 8116779"/>
              <a:gd name="connsiteY10" fmla="*/ 1103903 h 4419704"/>
              <a:gd name="connsiteX11" fmla="*/ 8076516 w 8116779"/>
              <a:gd name="connsiteY11" fmla="*/ 1510680 h 4419704"/>
              <a:gd name="connsiteX12" fmla="*/ 8104819 w 8116779"/>
              <a:gd name="connsiteY12" fmla="*/ 1839293 h 4419704"/>
              <a:gd name="connsiteX13" fmla="*/ 8114786 w 8116779"/>
              <a:gd name="connsiteY13" fmla="*/ 2165449 h 4419704"/>
              <a:gd name="connsiteX14" fmla="*/ 8116779 w 8116779"/>
              <a:gd name="connsiteY14" fmla="*/ 2182025 h 4419704"/>
              <a:gd name="connsiteX15" fmla="*/ 8116779 w 8116779"/>
              <a:gd name="connsiteY15" fmla="*/ 2237680 h 4419704"/>
              <a:gd name="connsiteX16" fmla="*/ 8114786 w 8116779"/>
              <a:gd name="connsiteY16" fmla="*/ 2261619 h 4419704"/>
              <a:gd name="connsiteX17" fmla="*/ 8098840 w 8116779"/>
              <a:gd name="connsiteY17" fmla="*/ 2676581 h 4419704"/>
              <a:gd name="connsiteX18" fmla="*/ 8035059 w 8116779"/>
              <a:gd name="connsiteY18" fmla="*/ 3176458 h 4419704"/>
              <a:gd name="connsiteX19" fmla="*/ 7905501 w 8116779"/>
              <a:gd name="connsiteY19" fmla="*/ 3636229 h 4419704"/>
              <a:gd name="connsiteX20" fmla="*/ 7690435 w 8116779"/>
              <a:gd name="connsiteY20" fmla="*/ 4021930 h 4419704"/>
              <a:gd name="connsiteX21" fmla="*/ 7183567 w 8116779"/>
              <a:gd name="connsiteY21" fmla="*/ 4369574 h 4419704"/>
              <a:gd name="connsiteX22" fmla="*/ 6937605 w 8116779"/>
              <a:gd name="connsiteY22" fmla="*/ 4412746 h 4419704"/>
              <a:gd name="connsiteX23" fmla="*/ 6884587 w 8116779"/>
              <a:gd name="connsiteY23" fmla="*/ 4419704 h 4419704"/>
              <a:gd name="connsiteX24" fmla="*/ 6799278 w 8116779"/>
              <a:gd name="connsiteY24" fmla="*/ 4419704 h 4419704"/>
              <a:gd name="connsiteX25" fmla="*/ 6764597 w 8116779"/>
              <a:gd name="connsiteY25" fmla="*/ 4414180 h 4419704"/>
              <a:gd name="connsiteX26" fmla="*/ 6365957 w 8116779"/>
              <a:gd name="connsiteY26" fmla="*/ 4350749 h 4419704"/>
              <a:gd name="connsiteX27" fmla="*/ 5846930 w 8116779"/>
              <a:gd name="connsiteY27" fmla="*/ 4169049 h 4419704"/>
              <a:gd name="connsiteX28" fmla="*/ 5137152 w 8116779"/>
              <a:gd name="connsiteY28" fmla="*/ 3798490 h 4419704"/>
              <a:gd name="connsiteX29" fmla="*/ 4502121 w 8116779"/>
              <a:gd name="connsiteY29" fmla="*/ 3354883 h 4419704"/>
              <a:gd name="connsiteX30" fmla="*/ 4130192 w 8116779"/>
              <a:gd name="connsiteY30" fmla="*/ 2985347 h 4419704"/>
              <a:gd name="connsiteX31" fmla="*/ 3906953 w 8116779"/>
              <a:gd name="connsiteY31" fmla="*/ 2629927 h 4419704"/>
              <a:gd name="connsiteX32" fmla="*/ 3817859 w 8116779"/>
              <a:gd name="connsiteY32" fmla="*/ 2298246 h 4419704"/>
              <a:gd name="connsiteX33" fmla="*/ 3811479 w 8116779"/>
              <a:gd name="connsiteY33" fmla="*/ 2241363 h 4419704"/>
              <a:gd name="connsiteX34" fmla="*/ 3811479 w 8116779"/>
              <a:gd name="connsiteY34" fmla="*/ 2174659 h 4419704"/>
              <a:gd name="connsiteX35" fmla="*/ 3814470 w 8116779"/>
              <a:gd name="connsiteY35" fmla="*/ 2158288 h 4419704"/>
              <a:gd name="connsiteX36" fmla="*/ 3825034 w 8116779"/>
              <a:gd name="connsiteY36" fmla="*/ 2060687 h 4419704"/>
              <a:gd name="connsiteX37" fmla="*/ 3950207 w 8116779"/>
              <a:gd name="connsiteY37" fmla="*/ 1696061 h 4419704"/>
              <a:gd name="connsiteX38" fmla="*/ 4246992 w 8116779"/>
              <a:gd name="connsiteY38" fmla="*/ 1297060 h 4419704"/>
              <a:gd name="connsiteX39" fmla="*/ 4653605 w 8116779"/>
              <a:gd name="connsiteY39" fmla="*/ 940210 h 4419704"/>
              <a:gd name="connsiteX40" fmla="*/ 5725146 w 8116779"/>
              <a:gd name="connsiteY40" fmla="*/ 301195 h 4419704"/>
              <a:gd name="connsiteX41" fmla="*/ 6351607 w 8116779"/>
              <a:gd name="connsiteY41" fmla="*/ 68750 h 4419704"/>
              <a:gd name="connsiteX42" fmla="*/ 6777552 w 8116779"/>
              <a:gd name="connsiteY42" fmla="*/ 3069 h 4419704"/>
              <a:gd name="connsiteX43" fmla="*/ 6799278 w 8116779"/>
              <a:gd name="connsiteY43" fmla="*/ 0 h 4419704"/>
              <a:gd name="connsiteX0" fmla="*/ 0 w 8116779"/>
              <a:gd name="connsiteY0" fmla="*/ 3118073 h 4419704"/>
              <a:gd name="connsiteX1" fmla="*/ 1864712 w 8116779"/>
              <a:gd name="connsiteY1" fmla="*/ 3118073 h 4419704"/>
              <a:gd name="connsiteX2" fmla="*/ 0 w 8116779"/>
              <a:gd name="connsiteY2" fmla="*/ 3118073 h 4419704"/>
              <a:gd name="connsiteX3" fmla="*/ 6799278 w 8116779"/>
              <a:gd name="connsiteY3" fmla="*/ 0 h 4419704"/>
              <a:gd name="connsiteX4" fmla="*/ 6880799 w 8116779"/>
              <a:gd name="connsiteY4" fmla="*/ 0 h 4419704"/>
              <a:gd name="connsiteX5" fmla="*/ 6908107 w 8116779"/>
              <a:gd name="connsiteY5" fmla="*/ 3274 h 4419704"/>
              <a:gd name="connsiteX6" fmla="*/ 7102842 w 8116779"/>
              <a:gd name="connsiteY6" fmla="*/ 26396 h 4419704"/>
              <a:gd name="connsiteX7" fmla="*/ 7597553 w 8116779"/>
              <a:gd name="connsiteY7" fmla="*/ 291168 h 4419704"/>
              <a:gd name="connsiteX8" fmla="*/ 7837931 w 8116779"/>
              <a:gd name="connsiteY8" fmla="*/ 629807 h 4419704"/>
              <a:gd name="connsiteX9" fmla="*/ 8005359 w 8116779"/>
              <a:gd name="connsiteY9" fmla="*/ 1103903 h 4419704"/>
              <a:gd name="connsiteX10" fmla="*/ 8076516 w 8116779"/>
              <a:gd name="connsiteY10" fmla="*/ 1510680 h 4419704"/>
              <a:gd name="connsiteX11" fmla="*/ 8104819 w 8116779"/>
              <a:gd name="connsiteY11" fmla="*/ 1839293 h 4419704"/>
              <a:gd name="connsiteX12" fmla="*/ 8114786 w 8116779"/>
              <a:gd name="connsiteY12" fmla="*/ 2165449 h 4419704"/>
              <a:gd name="connsiteX13" fmla="*/ 8116779 w 8116779"/>
              <a:gd name="connsiteY13" fmla="*/ 2182025 h 4419704"/>
              <a:gd name="connsiteX14" fmla="*/ 8116779 w 8116779"/>
              <a:gd name="connsiteY14" fmla="*/ 2237680 h 4419704"/>
              <a:gd name="connsiteX15" fmla="*/ 8114786 w 8116779"/>
              <a:gd name="connsiteY15" fmla="*/ 2261619 h 4419704"/>
              <a:gd name="connsiteX16" fmla="*/ 8098840 w 8116779"/>
              <a:gd name="connsiteY16" fmla="*/ 2676581 h 4419704"/>
              <a:gd name="connsiteX17" fmla="*/ 8035059 w 8116779"/>
              <a:gd name="connsiteY17" fmla="*/ 3176458 h 4419704"/>
              <a:gd name="connsiteX18" fmla="*/ 7905501 w 8116779"/>
              <a:gd name="connsiteY18" fmla="*/ 3636229 h 4419704"/>
              <a:gd name="connsiteX19" fmla="*/ 7690435 w 8116779"/>
              <a:gd name="connsiteY19" fmla="*/ 4021930 h 4419704"/>
              <a:gd name="connsiteX20" fmla="*/ 7183567 w 8116779"/>
              <a:gd name="connsiteY20" fmla="*/ 4369574 h 4419704"/>
              <a:gd name="connsiteX21" fmla="*/ 6937605 w 8116779"/>
              <a:gd name="connsiteY21" fmla="*/ 4412746 h 4419704"/>
              <a:gd name="connsiteX22" fmla="*/ 6884587 w 8116779"/>
              <a:gd name="connsiteY22" fmla="*/ 4419704 h 4419704"/>
              <a:gd name="connsiteX23" fmla="*/ 6799278 w 8116779"/>
              <a:gd name="connsiteY23" fmla="*/ 4419704 h 4419704"/>
              <a:gd name="connsiteX24" fmla="*/ 6764597 w 8116779"/>
              <a:gd name="connsiteY24" fmla="*/ 4414180 h 4419704"/>
              <a:gd name="connsiteX25" fmla="*/ 6365957 w 8116779"/>
              <a:gd name="connsiteY25" fmla="*/ 4350749 h 4419704"/>
              <a:gd name="connsiteX26" fmla="*/ 5846930 w 8116779"/>
              <a:gd name="connsiteY26" fmla="*/ 4169049 h 4419704"/>
              <a:gd name="connsiteX27" fmla="*/ 5137152 w 8116779"/>
              <a:gd name="connsiteY27" fmla="*/ 3798490 h 4419704"/>
              <a:gd name="connsiteX28" fmla="*/ 4502121 w 8116779"/>
              <a:gd name="connsiteY28" fmla="*/ 3354883 h 4419704"/>
              <a:gd name="connsiteX29" fmla="*/ 4130192 w 8116779"/>
              <a:gd name="connsiteY29" fmla="*/ 2985347 h 4419704"/>
              <a:gd name="connsiteX30" fmla="*/ 3906953 w 8116779"/>
              <a:gd name="connsiteY30" fmla="*/ 2629927 h 4419704"/>
              <a:gd name="connsiteX31" fmla="*/ 3817859 w 8116779"/>
              <a:gd name="connsiteY31" fmla="*/ 2298246 h 4419704"/>
              <a:gd name="connsiteX32" fmla="*/ 3811479 w 8116779"/>
              <a:gd name="connsiteY32" fmla="*/ 2241363 h 4419704"/>
              <a:gd name="connsiteX33" fmla="*/ 3811479 w 8116779"/>
              <a:gd name="connsiteY33" fmla="*/ 2174659 h 4419704"/>
              <a:gd name="connsiteX34" fmla="*/ 3814470 w 8116779"/>
              <a:gd name="connsiteY34" fmla="*/ 2158288 h 4419704"/>
              <a:gd name="connsiteX35" fmla="*/ 3825034 w 8116779"/>
              <a:gd name="connsiteY35" fmla="*/ 2060687 h 4419704"/>
              <a:gd name="connsiteX36" fmla="*/ 3950207 w 8116779"/>
              <a:gd name="connsiteY36" fmla="*/ 1696061 h 4419704"/>
              <a:gd name="connsiteX37" fmla="*/ 4246992 w 8116779"/>
              <a:gd name="connsiteY37" fmla="*/ 1297060 h 4419704"/>
              <a:gd name="connsiteX38" fmla="*/ 4653605 w 8116779"/>
              <a:gd name="connsiteY38" fmla="*/ 940210 h 4419704"/>
              <a:gd name="connsiteX39" fmla="*/ 5725146 w 8116779"/>
              <a:gd name="connsiteY39" fmla="*/ 301195 h 4419704"/>
              <a:gd name="connsiteX40" fmla="*/ 6351607 w 8116779"/>
              <a:gd name="connsiteY40" fmla="*/ 68750 h 4419704"/>
              <a:gd name="connsiteX41" fmla="*/ 6777552 w 8116779"/>
              <a:gd name="connsiteY41" fmla="*/ 3069 h 4419704"/>
              <a:gd name="connsiteX42" fmla="*/ 6799278 w 8116779"/>
              <a:gd name="connsiteY42" fmla="*/ 0 h 4419704"/>
              <a:gd name="connsiteX0" fmla="*/ 2987799 w 4305300"/>
              <a:gd name="connsiteY0" fmla="*/ 0 h 4419704"/>
              <a:gd name="connsiteX1" fmla="*/ 3069320 w 4305300"/>
              <a:gd name="connsiteY1" fmla="*/ 0 h 4419704"/>
              <a:gd name="connsiteX2" fmla="*/ 3096628 w 4305300"/>
              <a:gd name="connsiteY2" fmla="*/ 3274 h 4419704"/>
              <a:gd name="connsiteX3" fmla="*/ 3291363 w 4305300"/>
              <a:gd name="connsiteY3" fmla="*/ 26396 h 4419704"/>
              <a:gd name="connsiteX4" fmla="*/ 3786074 w 4305300"/>
              <a:gd name="connsiteY4" fmla="*/ 291168 h 4419704"/>
              <a:gd name="connsiteX5" fmla="*/ 4026452 w 4305300"/>
              <a:gd name="connsiteY5" fmla="*/ 629807 h 4419704"/>
              <a:gd name="connsiteX6" fmla="*/ 4193880 w 4305300"/>
              <a:gd name="connsiteY6" fmla="*/ 1103903 h 4419704"/>
              <a:gd name="connsiteX7" fmla="*/ 4265037 w 4305300"/>
              <a:gd name="connsiteY7" fmla="*/ 1510680 h 4419704"/>
              <a:gd name="connsiteX8" fmla="*/ 4293340 w 4305300"/>
              <a:gd name="connsiteY8" fmla="*/ 1839293 h 4419704"/>
              <a:gd name="connsiteX9" fmla="*/ 4303307 w 4305300"/>
              <a:gd name="connsiteY9" fmla="*/ 2165449 h 4419704"/>
              <a:gd name="connsiteX10" fmla="*/ 4305300 w 4305300"/>
              <a:gd name="connsiteY10" fmla="*/ 2182025 h 4419704"/>
              <a:gd name="connsiteX11" fmla="*/ 4305300 w 4305300"/>
              <a:gd name="connsiteY11" fmla="*/ 2237680 h 4419704"/>
              <a:gd name="connsiteX12" fmla="*/ 4303307 w 4305300"/>
              <a:gd name="connsiteY12" fmla="*/ 2261619 h 4419704"/>
              <a:gd name="connsiteX13" fmla="*/ 4287361 w 4305300"/>
              <a:gd name="connsiteY13" fmla="*/ 2676581 h 4419704"/>
              <a:gd name="connsiteX14" fmla="*/ 4223580 w 4305300"/>
              <a:gd name="connsiteY14" fmla="*/ 3176458 h 4419704"/>
              <a:gd name="connsiteX15" fmla="*/ 4094022 w 4305300"/>
              <a:gd name="connsiteY15" fmla="*/ 3636229 h 4419704"/>
              <a:gd name="connsiteX16" fmla="*/ 3878956 w 4305300"/>
              <a:gd name="connsiteY16" fmla="*/ 4021930 h 4419704"/>
              <a:gd name="connsiteX17" fmla="*/ 3372088 w 4305300"/>
              <a:gd name="connsiteY17" fmla="*/ 4369574 h 4419704"/>
              <a:gd name="connsiteX18" fmla="*/ 3126126 w 4305300"/>
              <a:gd name="connsiteY18" fmla="*/ 4412746 h 4419704"/>
              <a:gd name="connsiteX19" fmla="*/ 3073108 w 4305300"/>
              <a:gd name="connsiteY19" fmla="*/ 4419704 h 4419704"/>
              <a:gd name="connsiteX20" fmla="*/ 2987799 w 4305300"/>
              <a:gd name="connsiteY20" fmla="*/ 4419704 h 4419704"/>
              <a:gd name="connsiteX21" fmla="*/ 2953118 w 4305300"/>
              <a:gd name="connsiteY21" fmla="*/ 4414180 h 4419704"/>
              <a:gd name="connsiteX22" fmla="*/ 2554478 w 4305300"/>
              <a:gd name="connsiteY22" fmla="*/ 4350749 h 4419704"/>
              <a:gd name="connsiteX23" fmla="*/ 2035451 w 4305300"/>
              <a:gd name="connsiteY23" fmla="*/ 4169049 h 4419704"/>
              <a:gd name="connsiteX24" fmla="*/ 1325673 w 4305300"/>
              <a:gd name="connsiteY24" fmla="*/ 3798490 h 4419704"/>
              <a:gd name="connsiteX25" fmla="*/ 690642 w 4305300"/>
              <a:gd name="connsiteY25" fmla="*/ 3354883 h 4419704"/>
              <a:gd name="connsiteX26" fmla="*/ 318713 w 4305300"/>
              <a:gd name="connsiteY26" fmla="*/ 2985347 h 4419704"/>
              <a:gd name="connsiteX27" fmla="*/ 95474 w 4305300"/>
              <a:gd name="connsiteY27" fmla="*/ 2629927 h 4419704"/>
              <a:gd name="connsiteX28" fmla="*/ 6380 w 4305300"/>
              <a:gd name="connsiteY28" fmla="*/ 2298246 h 4419704"/>
              <a:gd name="connsiteX29" fmla="*/ 0 w 4305300"/>
              <a:gd name="connsiteY29" fmla="*/ 2241363 h 4419704"/>
              <a:gd name="connsiteX30" fmla="*/ 0 w 4305300"/>
              <a:gd name="connsiteY30" fmla="*/ 2174659 h 4419704"/>
              <a:gd name="connsiteX31" fmla="*/ 2991 w 4305300"/>
              <a:gd name="connsiteY31" fmla="*/ 2158288 h 4419704"/>
              <a:gd name="connsiteX32" fmla="*/ 13555 w 4305300"/>
              <a:gd name="connsiteY32" fmla="*/ 2060687 h 4419704"/>
              <a:gd name="connsiteX33" fmla="*/ 138728 w 4305300"/>
              <a:gd name="connsiteY33" fmla="*/ 1696061 h 4419704"/>
              <a:gd name="connsiteX34" fmla="*/ 435513 w 4305300"/>
              <a:gd name="connsiteY34" fmla="*/ 1297060 h 4419704"/>
              <a:gd name="connsiteX35" fmla="*/ 842126 w 4305300"/>
              <a:gd name="connsiteY35" fmla="*/ 940210 h 4419704"/>
              <a:gd name="connsiteX36" fmla="*/ 1913667 w 4305300"/>
              <a:gd name="connsiteY36" fmla="*/ 301195 h 4419704"/>
              <a:gd name="connsiteX37" fmla="*/ 2540128 w 4305300"/>
              <a:gd name="connsiteY37" fmla="*/ 68750 h 4419704"/>
              <a:gd name="connsiteX38" fmla="*/ 2966073 w 4305300"/>
              <a:gd name="connsiteY38" fmla="*/ 3069 h 4419704"/>
              <a:gd name="connsiteX39" fmla="*/ 2987799 w 4305300"/>
              <a:gd name="connsiteY39" fmla="*/ 0 h 44197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4305300" h="4419704">
                <a:moveTo>
                  <a:pt x="2987799" y="0"/>
                </a:moveTo>
                <a:lnTo>
                  <a:pt x="3069320" y="0"/>
                </a:lnTo>
                <a:cubicBezTo>
                  <a:pt x="3078490" y="1227"/>
                  <a:pt x="3087458" y="3274"/>
                  <a:pt x="3096628" y="3274"/>
                </a:cubicBezTo>
                <a:cubicBezTo>
                  <a:pt x="3162402" y="3478"/>
                  <a:pt x="3227182" y="12686"/>
                  <a:pt x="3291363" y="26396"/>
                </a:cubicBezTo>
                <a:cubicBezTo>
                  <a:pt x="3481912" y="66704"/>
                  <a:pt x="3647346" y="154076"/>
                  <a:pt x="3786074" y="291168"/>
                </a:cubicBezTo>
                <a:cubicBezTo>
                  <a:pt x="3885932" y="389999"/>
                  <a:pt x="3963466" y="504786"/>
                  <a:pt x="4026452" y="629807"/>
                </a:cubicBezTo>
                <a:cubicBezTo>
                  <a:pt x="4102393" y="780815"/>
                  <a:pt x="4154615" y="940005"/>
                  <a:pt x="4193880" y="1103903"/>
                </a:cubicBezTo>
                <a:cubicBezTo>
                  <a:pt x="4225772" y="1238130"/>
                  <a:pt x="4248494" y="1373790"/>
                  <a:pt x="4265037" y="1510680"/>
                </a:cubicBezTo>
                <a:cubicBezTo>
                  <a:pt x="4278392" y="1619943"/>
                  <a:pt x="4288558" y="1729618"/>
                  <a:pt x="4293340" y="1839293"/>
                </a:cubicBezTo>
                <a:cubicBezTo>
                  <a:pt x="4298324" y="1948148"/>
                  <a:pt x="4300119" y="2056799"/>
                  <a:pt x="4303307" y="2165449"/>
                </a:cubicBezTo>
                <a:cubicBezTo>
                  <a:pt x="4303506" y="2170974"/>
                  <a:pt x="4304702" y="2176500"/>
                  <a:pt x="4305300" y="2182025"/>
                </a:cubicBezTo>
                <a:lnTo>
                  <a:pt x="4305300" y="2237680"/>
                </a:lnTo>
                <a:cubicBezTo>
                  <a:pt x="4304702" y="2245660"/>
                  <a:pt x="4303506" y="2253640"/>
                  <a:pt x="4303307" y="2261619"/>
                </a:cubicBezTo>
                <a:cubicBezTo>
                  <a:pt x="4301911" y="2399940"/>
                  <a:pt x="4297327" y="2538465"/>
                  <a:pt x="4287361" y="2676581"/>
                </a:cubicBezTo>
                <a:cubicBezTo>
                  <a:pt x="4275004" y="2844365"/>
                  <a:pt x="4255270" y="3011333"/>
                  <a:pt x="4223580" y="3176458"/>
                </a:cubicBezTo>
                <a:cubicBezTo>
                  <a:pt x="4193283" y="3333397"/>
                  <a:pt x="4152622" y="3487270"/>
                  <a:pt x="4094022" y="3636229"/>
                </a:cubicBezTo>
                <a:cubicBezTo>
                  <a:pt x="4039608" y="3774345"/>
                  <a:pt x="3971240" y="3904686"/>
                  <a:pt x="3878956" y="4021930"/>
                </a:cubicBezTo>
                <a:cubicBezTo>
                  <a:pt x="3746209" y="4190330"/>
                  <a:pt x="3579180" y="4309007"/>
                  <a:pt x="3372088" y="4369574"/>
                </a:cubicBezTo>
                <a:cubicBezTo>
                  <a:pt x="3291761" y="4393104"/>
                  <a:pt x="3209640" y="4407019"/>
                  <a:pt x="3126126" y="4412746"/>
                </a:cubicBezTo>
                <a:cubicBezTo>
                  <a:pt x="3108386" y="4413975"/>
                  <a:pt x="3090848" y="4417248"/>
                  <a:pt x="3073108" y="4419704"/>
                </a:cubicBezTo>
                <a:lnTo>
                  <a:pt x="2987799" y="4419704"/>
                </a:lnTo>
                <a:cubicBezTo>
                  <a:pt x="2976238" y="4417863"/>
                  <a:pt x="2964878" y="4414792"/>
                  <a:pt x="2953118" y="4414180"/>
                </a:cubicBezTo>
                <a:cubicBezTo>
                  <a:pt x="2818178" y="4407019"/>
                  <a:pt x="2685432" y="4384101"/>
                  <a:pt x="2554478" y="4350749"/>
                </a:cubicBezTo>
                <a:cubicBezTo>
                  <a:pt x="2376287" y="4305324"/>
                  <a:pt x="2203876" y="4242506"/>
                  <a:pt x="2035451" y="4169049"/>
                </a:cubicBezTo>
                <a:cubicBezTo>
                  <a:pt x="1790089" y="4062445"/>
                  <a:pt x="1554892" y="3936197"/>
                  <a:pt x="1325673" y="3798490"/>
                </a:cubicBezTo>
                <a:cubicBezTo>
                  <a:pt x="1103832" y="3665080"/>
                  <a:pt x="889762" y="3520622"/>
                  <a:pt x="690642" y="3354883"/>
                </a:cubicBezTo>
                <a:cubicBezTo>
                  <a:pt x="555903" y="3242549"/>
                  <a:pt x="429534" y="3121620"/>
                  <a:pt x="318713" y="2985347"/>
                </a:cubicBezTo>
                <a:cubicBezTo>
                  <a:pt x="229616" y="2876082"/>
                  <a:pt x="152680" y="2759041"/>
                  <a:pt x="95474" y="2629927"/>
                </a:cubicBezTo>
                <a:cubicBezTo>
                  <a:pt x="48634" y="2523938"/>
                  <a:pt x="17342" y="2413853"/>
                  <a:pt x="6380" y="2298246"/>
                </a:cubicBezTo>
                <a:cubicBezTo>
                  <a:pt x="4586" y="2279217"/>
                  <a:pt x="2193" y="2260392"/>
                  <a:pt x="0" y="2241363"/>
                </a:cubicBezTo>
                <a:lnTo>
                  <a:pt x="0" y="2174659"/>
                </a:lnTo>
                <a:cubicBezTo>
                  <a:pt x="998" y="2169132"/>
                  <a:pt x="2591" y="2163813"/>
                  <a:pt x="2991" y="2158288"/>
                </a:cubicBezTo>
                <a:cubicBezTo>
                  <a:pt x="6577" y="2125756"/>
                  <a:pt x="8572" y="2093016"/>
                  <a:pt x="13555" y="2060687"/>
                </a:cubicBezTo>
                <a:cubicBezTo>
                  <a:pt x="32888" y="1931575"/>
                  <a:pt x="77137" y="1810851"/>
                  <a:pt x="138728" y="1696061"/>
                </a:cubicBezTo>
                <a:cubicBezTo>
                  <a:pt x="217857" y="1548532"/>
                  <a:pt x="320306" y="1417988"/>
                  <a:pt x="435513" y="1297060"/>
                </a:cubicBezTo>
                <a:cubicBezTo>
                  <a:pt x="560288" y="1165901"/>
                  <a:pt x="697219" y="1048246"/>
                  <a:pt x="842126" y="940210"/>
                </a:cubicBezTo>
                <a:cubicBezTo>
                  <a:pt x="1177181" y="690170"/>
                  <a:pt x="1536155" y="480029"/>
                  <a:pt x="1913667" y="301195"/>
                </a:cubicBezTo>
                <a:cubicBezTo>
                  <a:pt x="2115775" y="205435"/>
                  <a:pt x="2323467" y="124611"/>
                  <a:pt x="2540128" y="68750"/>
                </a:cubicBezTo>
                <a:cubicBezTo>
                  <a:pt x="2679850" y="32534"/>
                  <a:pt x="2821168" y="5525"/>
                  <a:pt x="2966073" y="3069"/>
                </a:cubicBezTo>
                <a:cubicBezTo>
                  <a:pt x="2973448" y="2863"/>
                  <a:pt x="2980623" y="1022"/>
                  <a:pt x="2987799" y="0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2388091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4"/>
          <p:cNvSpPr>
            <a:spLocks noGrp="1"/>
          </p:cNvSpPr>
          <p:nvPr>
            <p:ph type="title"/>
          </p:nvPr>
        </p:nvSpPr>
        <p:spPr>
          <a:xfrm>
            <a:off x="1790700" y="1042859"/>
            <a:ext cx="8610600" cy="495486"/>
          </a:xfrm>
          <a:prstGeom prst="rect">
            <a:avLst/>
          </a:prstGeom>
        </p:spPr>
        <p:txBody>
          <a:bodyPr/>
          <a:lstStyle>
            <a:lvl1pPr algn="ctr">
              <a:defRPr sz="32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da-DK"/>
              <a:t>Click to edit Master title style</a:t>
            </a:r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6" hasCustomPrompt="1"/>
          </p:nvPr>
        </p:nvSpPr>
        <p:spPr>
          <a:xfrm>
            <a:off x="8042767" y="2520777"/>
            <a:ext cx="1864712" cy="1816444"/>
          </a:xfrm>
          <a:custGeom>
            <a:avLst/>
            <a:gdLst>
              <a:gd name="connsiteX0" fmla="*/ 920615 w 1864712"/>
              <a:gd name="connsiteY0" fmla="*/ 0 h 1816444"/>
              <a:gd name="connsiteX1" fmla="*/ 944097 w 1864712"/>
              <a:gd name="connsiteY1" fmla="*/ 0 h 1816444"/>
              <a:gd name="connsiteX2" fmla="*/ 954197 w 1864712"/>
              <a:gd name="connsiteY2" fmla="*/ 841 h 1816444"/>
              <a:gd name="connsiteX3" fmla="*/ 1129273 w 1864712"/>
              <a:gd name="connsiteY3" fmla="*/ 7569 h 1816444"/>
              <a:gd name="connsiteX4" fmla="*/ 1340175 w 1864712"/>
              <a:gd name="connsiteY4" fmla="*/ 34479 h 1816444"/>
              <a:gd name="connsiteX5" fmla="*/ 1534157 w 1864712"/>
              <a:gd name="connsiteY5" fmla="*/ 89140 h 1816444"/>
              <a:gd name="connsiteX6" fmla="*/ 1696888 w 1864712"/>
              <a:gd name="connsiteY6" fmla="*/ 179878 h 1816444"/>
              <a:gd name="connsiteX7" fmla="*/ 1843562 w 1864712"/>
              <a:gd name="connsiteY7" fmla="*/ 393731 h 1816444"/>
              <a:gd name="connsiteX8" fmla="*/ 1861776 w 1864712"/>
              <a:gd name="connsiteY8" fmla="*/ 497504 h 1816444"/>
              <a:gd name="connsiteX9" fmla="*/ 1864712 w 1864712"/>
              <a:gd name="connsiteY9" fmla="*/ 519873 h 1816444"/>
              <a:gd name="connsiteX10" fmla="*/ 1864712 w 1864712"/>
              <a:gd name="connsiteY10" fmla="*/ 555865 h 1816444"/>
              <a:gd name="connsiteX11" fmla="*/ 1862381 w 1864712"/>
              <a:gd name="connsiteY11" fmla="*/ 570498 h 1816444"/>
              <a:gd name="connsiteX12" fmla="*/ 1835619 w 1864712"/>
              <a:gd name="connsiteY12" fmla="*/ 738687 h 1816444"/>
              <a:gd name="connsiteX13" fmla="*/ 1758958 w 1864712"/>
              <a:gd name="connsiteY13" fmla="*/ 957670 h 1816444"/>
              <a:gd name="connsiteX14" fmla="*/ 1602616 w 1864712"/>
              <a:gd name="connsiteY14" fmla="*/ 1257131 h 1816444"/>
              <a:gd name="connsiteX15" fmla="*/ 1415454 w 1864712"/>
              <a:gd name="connsiteY15" fmla="*/ 1525056 h 1816444"/>
              <a:gd name="connsiteX16" fmla="*/ 1259544 w 1864712"/>
              <a:gd name="connsiteY16" fmla="*/ 1681976 h 1816444"/>
              <a:gd name="connsiteX17" fmla="*/ 1109589 w 1864712"/>
              <a:gd name="connsiteY17" fmla="*/ 1776163 h 1816444"/>
              <a:gd name="connsiteX18" fmla="*/ 969650 w 1864712"/>
              <a:gd name="connsiteY18" fmla="*/ 1813753 h 1816444"/>
              <a:gd name="connsiteX19" fmla="*/ 945651 w 1864712"/>
              <a:gd name="connsiteY19" fmla="*/ 1816444 h 1816444"/>
              <a:gd name="connsiteX20" fmla="*/ 917508 w 1864712"/>
              <a:gd name="connsiteY20" fmla="*/ 1816444 h 1816444"/>
              <a:gd name="connsiteX21" fmla="*/ 910601 w 1864712"/>
              <a:gd name="connsiteY21" fmla="*/ 1815182 h 1816444"/>
              <a:gd name="connsiteX22" fmla="*/ 869422 w 1864712"/>
              <a:gd name="connsiteY22" fmla="*/ 1810726 h 1816444"/>
              <a:gd name="connsiteX23" fmla="*/ 715583 w 1864712"/>
              <a:gd name="connsiteY23" fmla="*/ 1757914 h 1816444"/>
              <a:gd name="connsiteX24" fmla="*/ 547241 w 1864712"/>
              <a:gd name="connsiteY24" fmla="*/ 1632697 h 1816444"/>
              <a:gd name="connsiteX25" fmla="*/ 396683 w 1864712"/>
              <a:gd name="connsiteY25" fmla="*/ 1461144 h 1816444"/>
              <a:gd name="connsiteX26" fmla="*/ 127077 w 1864712"/>
              <a:gd name="connsiteY26" fmla="*/ 1009051 h 1816444"/>
              <a:gd name="connsiteX27" fmla="*/ 29006 w 1864712"/>
              <a:gd name="connsiteY27" fmla="*/ 744742 h 1816444"/>
              <a:gd name="connsiteX28" fmla="*/ 1295 w 1864712"/>
              <a:gd name="connsiteY28" fmla="*/ 565032 h 1816444"/>
              <a:gd name="connsiteX29" fmla="*/ 0 w 1864712"/>
              <a:gd name="connsiteY29" fmla="*/ 555865 h 1816444"/>
              <a:gd name="connsiteX30" fmla="*/ 0 w 1864712"/>
              <a:gd name="connsiteY30" fmla="*/ 521471 h 1816444"/>
              <a:gd name="connsiteX31" fmla="*/ 1381 w 1864712"/>
              <a:gd name="connsiteY31" fmla="*/ 509950 h 1816444"/>
              <a:gd name="connsiteX32" fmla="*/ 11137 w 1864712"/>
              <a:gd name="connsiteY32" fmla="*/ 427789 h 1816444"/>
              <a:gd name="connsiteX33" fmla="*/ 122847 w 1864712"/>
              <a:gd name="connsiteY33" fmla="*/ 219066 h 1816444"/>
              <a:gd name="connsiteX34" fmla="*/ 265722 w 1864712"/>
              <a:gd name="connsiteY34" fmla="*/ 117649 h 1816444"/>
              <a:gd name="connsiteX35" fmla="*/ 465746 w 1864712"/>
              <a:gd name="connsiteY35" fmla="*/ 47009 h 1816444"/>
              <a:gd name="connsiteX36" fmla="*/ 637369 w 1864712"/>
              <a:gd name="connsiteY36" fmla="*/ 16987 h 1816444"/>
              <a:gd name="connsiteX37" fmla="*/ 776014 w 1864712"/>
              <a:gd name="connsiteY37" fmla="*/ 5046 h 1816444"/>
              <a:gd name="connsiteX38" fmla="*/ 913622 w 1864712"/>
              <a:gd name="connsiteY38" fmla="*/ 841 h 1816444"/>
              <a:gd name="connsiteX39" fmla="*/ 920615 w 1864712"/>
              <a:gd name="connsiteY39" fmla="*/ 0 h 1816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864712" h="1816444">
                <a:moveTo>
                  <a:pt x="920615" y="0"/>
                </a:moveTo>
                <a:cubicBezTo>
                  <a:pt x="928471" y="0"/>
                  <a:pt x="936241" y="0"/>
                  <a:pt x="944097" y="0"/>
                </a:cubicBezTo>
                <a:cubicBezTo>
                  <a:pt x="947464" y="252"/>
                  <a:pt x="950831" y="757"/>
                  <a:pt x="954197" y="841"/>
                </a:cubicBezTo>
                <a:cubicBezTo>
                  <a:pt x="1012556" y="1430"/>
                  <a:pt x="1071001" y="3364"/>
                  <a:pt x="1129273" y="7569"/>
                </a:cubicBezTo>
                <a:cubicBezTo>
                  <a:pt x="1200063" y="12783"/>
                  <a:pt x="1270508" y="21108"/>
                  <a:pt x="1340175" y="34479"/>
                </a:cubicBezTo>
                <a:cubicBezTo>
                  <a:pt x="1406389" y="47261"/>
                  <a:pt x="1471310" y="64416"/>
                  <a:pt x="1534157" y="89140"/>
                </a:cubicBezTo>
                <a:cubicBezTo>
                  <a:pt x="1592429" y="112098"/>
                  <a:pt x="1647421" y="140943"/>
                  <a:pt x="1696888" y="179878"/>
                </a:cubicBezTo>
                <a:cubicBezTo>
                  <a:pt x="1767937" y="235886"/>
                  <a:pt x="1818008" y="306357"/>
                  <a:pt x="1843562" y="393731"/>
                </a:cubicBezTo>
                <a:cubicBezTo>
                  <a:pt x="1853489" y="427621"/>
                  <a:pt x="1859360" y="462269"/>
                  <a:pt x="1861776" y="497504"/>
                </a:cubicBezTo>
                <a:cubicBezTo>
                  <a:pt x="1862295" y="504989"/>
                  <a:pt x="1863676" y="512388"/>
                  <a:pt x="1864712" y="519873"/>
                </a:cubicBezTo>
                <a:cubicBezTo>
                  <a:pt x="1864712" y="531899"/>
                  <a:pt x="1864712" y="543924"/>
                  <a:pt x="1864712" y="555865"/>
                </a:cubicBezTo>
                <a:cubicBezTo>
                  <a:pt x="1863935" y="560743"/>
                  <a:pt x="1862640" y="565536"/>
                  <a:pt x="1862381" y="570498"/>
                </a:cubicBezTo>
                <a:cubicBezTo>
                  <a:pt x="1859360" y="627430"/>
                  <a:pt x="1849691" y="683437"/>
                  <a:pt x="1835619" y="738687"/>
                </a:cubicBezTo>
                <a:cubicBezTo>
                  <a:pt x="1816454" y="813868"/>
                  <a:pt x="1789951" y="886610"/>
                  <a:pt x="1758958" y="957670"/>
                </a:cubicBezTo>
                <a:cubicBezTo>
                  <a:pt x="1713981" y="1061190"/>
                  <a:pt x="1660716" y="1160422"/>
                  <a:pt x="1602616" y="1257131"/>
                </a:cubicBezTo>
                <a:cubicBezTo>
                  <a:pt x="1546329" y="1350728"/>
                  <a:pt x="1485381" y="1441046"/>
                  <a:pt x="1415454" y="1525056"/>
                </a:cubicBezTo>
                <a:cubicBezTo>
                  <a:pt x="1368060" y="1581904"/>
                  <a:pt x="1317039" y="1635220"/>
                  <a:pt x="1259544" y="1681976"/>
                </a:cubicBezTo>
                <a:cubicBezTo>
                  <a:pt x="1213444" y="1719567"/>
                  <a:pt x="1164064" y="1752027"/>
                  <a:pt x="1109589" y="1776163"/>
                </a:cubicBezTo>
                <a:cubicBezTo>
                  <a:pt x="1064871" y="1795925"/>
                  <a:pt x="1018426" y="1809128"/>
                  <a:pt x="969650" y="1813753"/>
                </a:cubicBezTo>
                <a:cubicBezTo>
                  <a:pt x="961621" y="1814509"/>
                  <a:pt x="953679" y="1815519"/>
                  <a:pt x="945651" y="1816444"/>
                </a:cubicBezTo>
                <a:cubicBezTo>
                  <a:pt x="936241" y="1816444"/>
                  <a:pt x="926917" y="1816444"/>
                  <a:pt x="917508" y="1816444"/>
                </a:cubicBezTo>
                <a:cubicBezTo>
                  <a:pt x="915176" y="1816023"/>
                  <a:pt x="912932" y="1815351"/>
                  <a:pt x="910601" y="1815182"/>
                </a:cubicBezTo>
                <a:cubicBezTo>
                  <a:pt x="896875" y="1813669"/>
                  <a:pt x="883062" y="1812828"/>
                  <a:pt x="869422" y="1810726"/>
                </a:cubicBezTo>
                <a:cubicBezTo>
                  <a:pt x="814948" y="1802569"/>
                  <a:pt x="764014" y="1783900"/>
                  <a:pt x="715583" y="1757914"/>
                </a:cubicBezTo>
                <a:cubicBezTo>
                  <a:pt x="653339" y="1724528"/>
                  <a:pt x="598262" y="1681304"/>
                  <a:pt x="547241" y="1632697"/>
                </a:cubicBezTo>
                <a:cubicBezTo>
                  <a:pt x="491904" y="1580054"/>
                  <a:pt x="442264" y="1522281"/>
                  <a:pt x="396683" y="1461144"/>
                </a:cubicBezTo>
                <a:cubicBezTo>
                  <a:pt x="291189" y="1319781"/>
                  <a:pt x="202529" y="1168327"/>
                  <a:pt x="127077" y="1009051"/>
                </a:cubicBezTo>
                <a:cubicBezTo>
                  <a:pt x="86675" y="923780"/>
                  <a:pt x="52575" y="836153"/>
                  <a:pt x="29006" y="744742"/>
                </a:cubicBezTo>
                <a:cubicBezTo>
                  <a:pt x="13727" y="685792"/>
                  <a:pt x="2331" y="626168"/>
                  <a:pt x="1295" y="565032"/>
                </a:cubicBezTo>
                <a:cubicBezTo>
                  <a:pt x="1208" y="561920"/>
                  <a:pt x="431" y="558893"/>
                  <a:pt x="0" y="555865"/>
                </a:cubicBezTo>
                <a:cubicBezTo>
                  <a:pt x="0" y="544429"/>
                  <a:pt x="0" y="532908"/>
                  <a:pt x="0" y="521471"/>
                </a:cubicBezTo>
                <a:cubicBezTo>
                  <a:pt x="518" y="517602"/>
                  <a:pt x="1381" y="513818"/>
                  <a:pt x="1381" y="509950"/>
                </a:cubicBezTo>
                <a:cubicBezTo>
                  <a:pt x="1468" y="482199"/>
                  <a:pt x="5352" y="454868"/>
                  <a:pt x="11137" y="427789"/>
                </a:cubicBezTo>
                <a:cubicBezTo>
                  <a:pt x="28143" y="347395"/>
                  <a:pt x="65006" y="277597"/>
                  <a:pt x="122847" y="219066"/>
                </a:cubicBezTo>
                <a:cubicBezTo>
                  <a:pt x="164544" y="176935"/>
                  <a:pt x="212974" y="144223"/>
                  <a:pt x="265722" y="117649"/>
                </a:cubicBezTo>
                <a:cubicBezTo>
                  <a:pt x="329433" y="85608"/>
                  <a:pt x="396597" y="63575"/>
                  <a:pt x="465746" y="47009"/>
                </a:cubicBezTo>
                <a:cubicBezTo>
                  <a:pt x="522378" y="33554"/>
                  <a:pt x="579614" y="23967"/>
                  <a:pt x="637369" y="16987"/>
                </a:cubicBezTo>
                <a:cubicBezTo>
                  <a:pt x="683468" y="11353"/>
                  <a:pt x="729741" y="7064"/>
                  <a:pt x="776014" y="5046"/>
                </a:cubicBezTo>
                <a:cubicBezTo>
                  <a:pt x="821941" y="2943"/>
                  <a:pt x="867781" y="2186"/>
                  <a:pt x="913622" y="841"/>
                </a:cubicBezTo>
                <a:cubicBezTo>
                  <a:pt x="915953" y="757"/>
                  <a:pt x="918285" y="252"/>
                  <a:pt x="920615" y="0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4930775" y="2293937"/>
            <a:ext cx="2330450" cy="2270125"/>
          </a:xfrm>
          <a:custGeom>
            <a:avLst/>
            <a:gdLst>
              <a:gd name="connsiteX0" fmla="*/ 1148610 w 2330450"/>
              <a:gd name="connsiteY0" fmla="*/ 0 h 2270125"/>
              <a:gd name="connsiteX1" fmla="*/ 1183782 w 2330450"/>
              <a:gd name="connsiteY1" fmla="*/ 0 h 2270125"/>
              <a:gd name="connsiteX2" fmla="*/ 1192414 w 2330450"/>
              <a:gd name="connsiteY2" fmla="*/ 1577 h 2270125"/>
              <a:gd name="connsiteX3" fmla="*/ 1243878 w 2330450"/>
              <a:gd name="connsiteY3" fmla="*/ 7147 h 2270125"/>
              <a:gd name="connsiteX4" fmla="*/ 1436140 w 2330450"/>
              <a:gd name="connsiteY4" fmla="*/ 73149 h 2270125"/>
              <a:gd name="connsiteX5" fmla="*/ 1646528 w 2330450"/>
              <a:gd name="connsiteY5" fmla="*/ 229640 h 2270125"/>
              <a:gd name="connsiteX6" fmla="*/ 1834690 w 2330450"/>
              <a:gd name="connsiteY6" fmla="*/ 444041 h 2270125"/>
              <a:gd name="connsiteX7" fmla="*/ 2171634 w 2330450"/>
              <a:gd name="connsiteY7" fmla="*/ 1009050 h 2270125"/>
              <a:gd name="connsiteX8" fmla="*/ 2294199 w 2330450"/>
              <a:gd name="connsiteY8" fmla="*/ 1339374 h 2270125"/>
              <a:gd name="connsiteX9" fmla="*/ 2328832 w 2330450"/>
              <a:gd name="connsiteY9" fmla="*/ 1563969 h 2270125"/>
              <a:gd name="connsiteX10" fmla="*/ 2330450 w 2330450"/>
              <a:gd name="connsiteY10" fmla="*/ 1575425 h 2270125"/>
              <a:gd name="connsiteX11" fmla="*/ 2330450 w 2330450"/>
              <a:gd name="connsiteY11" fmla="*/ 1618410 h 2270125"/>
              <a:gd name="connsiteX12" fmla="*/ 2328724 w 2330450"/>
              <a:gd name="connsiteY12" fmla="*/ 1632809 h 2270125"/>
              <a:gd name="connsiteX13" fmla="*/ 2316532 w 2330450"/>
              <a:gd name="connsiteY13" fmla="*/ 1735490 h 2270125"/>
              <a:gd name="connsiteX14" fmla="*/ 2176921 w 2330450"/>
              <a:gd name="connsiteY14" fmla="*/ 1996344 h 2270125"/>
              <a:gd name="connsiteX15" fmla="*/ 1998361 w 2330450"/>
              <a:gd name="connsiteY15" fmla="*/ 2123092 h 2270125"/>
              <a:gd name="connsiteX16" fmla="*/ 1748377 w 2330450"/>
              <a:gd name="connsiteY16" fmla="*/ 2211375 h 2270125"/>
              <a:gd name="connsiteX17" fmla="*/ 1533889 w 2330450"/>
              <a:gd name="connsiteY17" fmla="*/ 2248895 h 2270125"/>
              <a:gd name="connsiteX18" fmla="*/ 1360616 w 2330450"/>
              <a:gd name="connsiteY18" fmla="*/ 2263819 h 2270125"/>
              <a:gd name="connsiteX19" fmla="*/ 1188638 w 2330450"/>
              <a:gd name="connsiteY19" fmla="*/ 2269074 h 2270125"/>
              <a:gd name="connsiteX20" fmla="*/ 1179898 w 2330450"/>
              <a:gd name="connsiteY20" fmla="*/ 2270125 h 2270125"/>
              <a:gd name="connsiteX21" fmla="*/ 1150552 w 2330450"/>
              <a:gd name="connsiteY21" fmla="*/ 2270125 h 2270125"/>
              <a:gd name="connsiteX22" fmla="*/ 1137929 w 2330450"/>
              <a:gd name="connsiteY22" fmla="*/ 2269074 h 2270125"/>
              <a:gd name="connsiteX23" fmla="*/ 919125 w 2330450"/>
              <a:gd name="connsiteY23" fmla="*/ 2260666 h 2270125"/>
              <a:gd name="connsiteX24" fmla="*/ 655547 w 2330450"/>
              <a:gd name="connsiteY24" fmla="*/ 2227035 h 2270125"/>
              <a:gd name="connsiteX25" fmla="*/ 413116 w 2330450"/>
              <a:gd name="connsiteY25" fmla="*/ 2158721 h 2270125"/>
              <a:gd name="connsiteX26" fmla="*/ 209741 w 2330450"/>
              <a:gd name="connsiteY26" fmla="*/ 2045320 h 2270125"/>
              <a:gd name="connsiteX27" fmla="*/ 26433 w 2330450"/>
              <a:gd name="connsiteY27" fmla="*/ 1778055 h 2270125"/>
              <a:gd name="connsiteX28" fmla="*/ 3669 w 2330450"/>
              <a:gd name="connsiteY28" fmla="*/ 1648363 h 2270125"/>
              <a:gd name="connsiteX29" fmla="*/ 0 w 2330450"/>
              <a:gd name="connsiteY29" fmla="*/ 1620407 h 2270125"/>
              <a:gd name="connsiteX30" fmla="*/ 0 w 2330450"/>
              <a:gd name="connsiteY30" fmla="*/ 1575425 h 2270125"/>
              <a:gd name="connsiteX31" fmla="*/ 2913 w 2330450"/>
              <a:gd name="connsiteY31" fmla="*/ 1557138 h 2270125"/>
              <a:gd name="connsiteX32" fmla="*/ 36359 w 2330450"/>
              <a:gd name="connsiteY32" fmla="*/ 1346941 h 2270125"/>
              <a:gd name="connsiteX33" fmla="*/ 132167 w 2330450"/>
              <a:gd name="connsiteY33" fmla="*/ 1073265 h 2270125"/>
              <a:gd name="connsiteX34" fmla="*/ 327558 w 2330450"/>
              <a:gd name="connsiteY34" fmla="*/ 699009 h 2270125"/>
              <a:gd name="connsiteX35" fmla="*/ 561466 w 2330450"/>
              <a:gd name="connsiteY35" fmla="*/ 364166 h 2270125"/>
              <a:gd name="connsiteX36" fmla="*/ 756317 w 2330450"/>
              <a:gd name="connsiteY36" fmla="*/ 168053 h 2270125"/>
              <a:gd name="connsiteX37" fmla="*/ 943725 w 2330450"/>
              <a:gd name="connsiteY37" fmla="*/ 50342 h 2270125"/>
              <a:gd name="connsiteX38" fmla="*/ 1118616 w 2330450"/>
              <a:gd name="connsiteY38" fmla="*/ 3364 h 2270125"/>
              <a:gd name="connsiteX39" fmla="*/ 1148610 w 2330450"/>
              <a:gd name="connsiteY39" fmla="*/ 0 h 2270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2330450" h="2270125">
                <a:moveTo>
                  <a:pt x="1148610" y="0"/>
                </a:moveTo>
                <a:cubicBezTo>
                  <a:pt x="1160370" y="0"/>
                  <a:pt x="1172022" y="0"/>
                  <a:pt x="1183782" y="0"/>
                </a:cubicBezTo>
                <a:cubicBezTo>
                  <a:pt x="1186696" y="526"/>
                  <a:pt x="1189501" y="1366"/>
                  <a:pt x="1192414" y="1577"/>
                </a:cubicBezTo>
                <a:cubicBezTo>
                  <a:pt x="1209568" y="3468"/>
                  <a:pt x="1226831" y="4520"/>
                  <a:pt x="1243878" y="7147"/>
                </a:cubicBezTo>
                <a:cubicBezTo>
                  <a:pt x="1311957" y="17341"/>
                  <a:pt x="1375613" y="40673"/>
                  <a:pt x="1436140" y="73149"/>
                </a:cubicBezTo>
                <a:cubicBezTo>
                  <a:pt x="1513930" y="114873"/>
                  <a:pt x="1582764" y="168893"/>
                  <a:pt x="1646528" y="229640"/>
                </a:cubicBezTo>
                <a:cubicBezTo>
                  <a:pt x="1715686" y="295432"/>
                  <a:pt x="1777724" y="367634"/>
                  <a:pt x="1834690" y="444041"/>
                </a:cubicBezTo>
                <a:cubicBezTo>
                  <a:pt x="1966533" y="620711"/>
                  <a:pt x="2077337" y="809993"/>
                  <a:pt x="2171634" y="1009050"/>
                </a:cubicBezTo>
                <a:cubicBezTo>
                  <a:pt x="2222127" y="1115619"/>
                  <a:pt x="2264744" y="1225132"/>
                  <a:pt x="2294199" y="1339374"/>
                </a:cubicBezTo>
                <a:cubicBezTo>
                  <a:pt x="2313295" y="1413048"/>
                  <a:pt x="2327537" y="1487563"/>
                  <a:pt x="2328832" y="1563969"/>
                </a:cubicBezTo>
                <a:cubicBezTo>
                  <a:pt x="2328940" y="1567858"/>
                  <a:pt x="2329911" y="1571641"/>
                  <a:pt x="2330450" y="1575425"/>
                </a:cubicBezTo>
                <a:cubicBezTo>
                  <a:pt x="2330450" y="1589718"/>
                  <a:pt x="2330450" y="1604117"/>
                  <a:pt x="2330450" y="1618410"/>
                </a:cubicBezTo>
                <a:cubicBezTo>
                  <a:pt x="2329803" y="1623245"/>
                  <a:pt x="2328724" y="1627974"/>
                  <a:pt x="2328724" y="1632809"/>
                </a:cubicBezTo>
                <a:cubicBezTo>
                  <a:pt x="2328616" y="1667491"/>
                  <a:pt x="2323761" y="1701648"/>
                  <a:pt x="2316532" y="1735490"/>
                </a:cubicBezTo>
                <a:cubicBezTo>
                  <a:pt x="2295278" y="1835964"/>
                  <a:pt x="2249208" y="1923195"/>
                  <a:pt x="2176921" y="1996344"/>
                </a:cubicBezTo>
                <a:cubicBezTo>
                  <a:pt x="2124809" y="2048998"/>
                  <a:pt x="2064283" y="2089881"/>
                  <a:pt x="1998361" y="2123092"/>
                </a:cubicBezTo>
                <a:cubicBezTo>
                  <a:pt x="1918737" y="2163135"/>
                  <a:pt x="1834798" y="2190671"/>
                  <a:pt x="1748377" y="2211375"/>
                </a:cubicBezTo>
                <a:cubicBezTo>
                  <a:pt x="1677601" y="2228191"/>
                  <a:pt x="1606069" y="2240172"/>
                  <a:pt x="1533889" y="2248895"/>
                </a:cubicBezTo>
                <a:cubicBezTo>
                  <a:pt x="1476276" y="2255937"/>
                  <a:pt x="1418446" y="2261297"/>
                  <a:pt x="1360616" y="2263819"/>
                </a:cubicBezTo>
                <a:cubicBezTo>
                  <a:pt x="1303218" y="2266447"/>
                  <a:pt x="1245928" y="2267393"/>
                  <a:pt x="1188638" y="2269074"/>
                </a:cubicBezTo>
                <a:cubicBezTo>
                  <a:pt x="1185725" y="2269179"/>
                  <a:pt x="1182811" y="2269810"/>
                  <a:pt x="1179898" y="2270125"/>
                </a:cubicBezTo>
                <a:cubicBezTo>
                  <a:pt x="1170080" y="2270125"/>
                  <a:pt x="1160370" y="2270125"/>
                  <a:pt x="1150552" y="2270125"/>
                </a:cubicBezTo>
                <a:cubicBezTo>
                  <a:pt x="1146344" y="2269810"/>
                  <a:pt x="1142136" y="2269179"/>
                  <a:pt x="1137929" y="2269074"/>
                </a:cubicBezTo>
                <a:cubicBezTo>
                  <a:pt x="1064994" y="2268338"/>
                  <a:pt x="991952" y="2265921"/>
                  <a:pt x="919125" y="2260666"/>
                </a:cubicBezTo>
                <a:cubicBezTo>
                  <a:pt x="830655" y="2254150"/>
                  <a:pt x="742615" y="2243745"/>
                  <a:pt x="655547" y="2227035"/>
                </a:cubicBezTo>
                <a:cubicBezTo>
                  <a:pt x="572795" y="2211060"/>
                  <a:pt x="491660" y="2189620"/>
                  <a:pt x="413116" y="2158721"/>
                </a:cubicBezTo>
                <a:cubicBezTo>
                  <a:pt x="340289" y="2130029"/>
                  <a:pt x="271562" y="2093980"/>
                  <a:pt x="209741" y="2045320"/>
                </a:cubicBezTo>
                <a:cubicBezTo>
                  <a:pt x="120946" y="1975324"/>
                  <a:pt x="58369" y="1887252"/>
                  <a:pt x="26433" y="1778055"/>
                </a:cubicBezTo>
                <a:cubicBezTo>
                  <a:pt x="14026" y="1735700"/>
                  <a:pt x="6689" y="1692399"/>
                  <a:pt x="3669" y="1648363"/>
                </a:cubicBezTo>
                <a:cubicBezTo>
                  <a:pt x="3021" y="1639009"/>
                  <a:pt x="1295" y="1629761"/>
                  <a:pt x="0" y="1620407"/>
                </a:cubicBezTo>
                <a:cubicBezTo>
                  <a:pt x="0" y="1605378"/>
                  <a:pt x="0" y="1590349"/>
                  <a:pt x="0" y="1575425"/>
                </a:cubicBezTo>
                <a:cubicBezTo>
                  <a:pt x="971" y="1569329"/>
                  <a:pt x="2590" y="1563339"/>
                  <a:pt x="2913" y="1557138"/>
                </a:cubicBezTo>
                <a:cubicBezTo>
                  <a:pt x="6689" y="1485986"/>
                  <a:pt x="18773" y="1415991"/>
                  <a:pt x="36359" y="1346941"/>
                </a:cubicBezTo>
                <a:cubicBezTo>
                  <a:pt x="60311" y="1252983"/>
                  <a:pt x="93434" y="1162073"/>
                  <a:pt x="132167" y="1073265"/>
                </a:cubicBezTo>
                <a:cubicBezTo>
                  <a:pt x="188378" y="943889"/>
                  <a:pt x="254947" y="819873"/>
                  <a:pt x="327558" y="699009"/>
                </a:cubicBezTo>
                <a:cubicBezTo>
                  <a:pt x="397903" y="582035"/>
                  <a:pt x="474074" y="469159"/>
                  <a:pt x="561466" y="364166"/>
                </a:cubicBezTo>
                <a:cubicBezTo>
                  <a:pt x="620698" y="293120"/>
                  <a:pt x="684462" y="226487"/>
                  <a:pt x="756317" y="168053"/>
                </a:cubicBezTo>
                <a:cubicBezTo>
                  <a:pt x="813931" y="121073"/>
                  <a:pt x="875645" y="80506"/>
                  <a:pt x="943725" y="50342"/>
                </a:cubicBezTo>
                <a:cubicBezTo>
                  <a:pt x="999612" y="25644"/>
                  <a:pt x="1057658" y="9144"/>
                  <a:pt x="1118616" y="3364"/>
                </a:cubicBezTo>
                <a:cubicBezTo>
                  <a:pt x="1128650" y="2418"/>
                  <a:pt x="1138576" y="1156"/>
                  <a:pt x="1148610" y="0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2284521" y="2520777"/>
            <a:ext cx="1864712" cy="1816444"/>
          </a:xfrm>
          <a:custGeom>
            <a:avLst/>
            <a:gdLst>
              <a:gd name="connsiteX0" fmla="*/ 920616 w 1864712"/>
              <a:gd name="connsiteY0" fmla="*/ 0 h 1816444"/>
              <a:gd name="connsiteX1" fmla="*/ 944097 w 1864712"/>
              <a:gd name="connsiteY1" fmla="*/ 0 h 1816444"/>
              <a:gd name="connsiteX2" fmla="*/ 954197 w 1864712"/>
              <a:gd name="connsiteY2" fmla="*/ 841 h 1816444"/>
              <a:gd name="connsiteX3" fmla="*/ 1129273 w 1864712"/>
              <a:gd name="connsiteY3" fmla="*/ 7569 h 1816444"/>
              <a:gd name="connsiteX4" fmla="*/ 1340176 w 1864712"/>
              <a:gd name="connsiteY4" fmla="*/ 34479 h 1816444"/>
              <a:gd name="connsiteX5" fmla="*/ 1534157 w 1864712"/>
              <a:gd name="connsiteY5" fmla="*/ 89140 h 1816444"/>
              <a:gd name="connsiteX6" fmla="*/ 1696888 w 1864712"/>
              <a:gd name="connsiteY6" fmla="*/ 179878 h 1816444"/>
              <a:gd name="connsiteX7" fmla="*/ 1843562 w 1864712"/>
              <a:gd name="connsiteY7" fmla="*/ 393731 h 1816444"/>
              <a:gd name="connsiteX8" fmla="*/ 1861776 w 1864712"/>
              <a:gd name="connsiteY8" fmla="*/ 497504 h 1816444"/>
              <a:gd name="connsiteX9" fmla="*/ 1864712 w 1864712"/>
              <a:gd name="connsiteY9" fmla="*/ 519873 h 1816444"/>
              <a:gd name="connsiteX10" fmla="*/ 1864712 w 1864712"/>
              <a:gd name="connsiteY10" fmla="*/ 555865 h 1816444"/>
              <a:gd name="connsiteX11" fmla="*/ 1862381 w 1864712"/>
              <a:gd name="connsiteY11" fmla="*/ 570498 h 1816444"/>
              <a:gd name="connsiteX12" fmla="*/ 1835619 w 1864712"/>
              <a:gd name="connsiteY12" fmla="*/ 738687 h 1816444"/>
              <a:gd name="connsiteX13" fmla="*/ 1758959 w 1864712"/>
              <a:gd name="connsiteY13" fmla="*/ 957670 h 1816444"/>
              <a:gd name="connsiteX14" fmla="*/ 1602616 w 1864712"/>
              <a:gd name="connsiteY14" fmla="*/ 1257131 h 1816444"/>
              <a:gd name="connsiteX15" fmla="*/ 1415455 w 1864712"/>
              <a:gd name="connsiteY15" fmla="*/ 1525056 h 1816444"/>
              <a:gd name="connsiteX16" fmla="*/ 1259544 w 1864712"/>
              <a:gd name="connsiteY16" fmla="*/ 1681976 h 1816444"/>
              <a:gd name="connsiteX17" fmla="*/ 1109590 w 1864712"/>
              <a:gd name="connsiteY17" fmla="*/ 1776163 h 1816444"/>
              <a:gd name="connsiteX18" fmla="*/ 969650 w 1864712"/>
              <a:gd name="connsiteY18" fmla="*/ 1813753 h 1816444"/>
              <a:gd name="connsiteX19" fmla="*/ 945651 w 1864712"/>
              <a:gd name="connsiteY19" fmla="*/ 1816444 h 1816444"/>
              <a:gd name="connsiteX20" fmla="*/ 917508 w 1864712"/>
              <a:gd name="connsiteY20" fmla="*/ 1816444 h 1816444"/>
              <a:gd name="connsiteX21" fmla="*/ 910601 w 1864712"/>
              <a:gd name="connsiteY21" fmla="*/ 1815182 h 1816444"/>
              <a:gd name="connsiteX22" fmla="*/ 869422 w 1864712"/>
              <a:gd name="connsiteY22" fmla="*/ 1810726 h 1816444"/>
              <a:gd name="connsiteX23" fmla="*/ 715583 w 1864712"/>
              <a:gd name="connsiteY23" fmla="*/ 1757914 h 1816444"/>
              <a:gd name="connsiteX24" fmla="*/ 547241 w 1864712"/>
              <a:gd name="connsiteY24" fmla="*/ 1632697 h 1816444"/>
              <a:gd name="connsiteX25" fmla="*/ 396683 w 1864712"/>
              <a:gd name="connsiteY25" fmla="*/ 1461144 h 1816444"/>
              <a:gd name="connsiteX26" fmla="*/ 127077 w 1864712"/>
              <a:gd name="connsiteY26" fmla="*/ 1009051 h 1816444"/>
              <a:gd name="connsiteX27" fmla="*/ 29006 w 1864712"/>
              <a:gd name="connsiteY27" fmla="*/ 744742 h 1816444"/>
              <a:gd name="connsiteX28" fmla="*/ 1295 w 1864712"/>
              <a:gd name="connsiteY28" fmla="*/ 565032 h 1816444"/>
              <a:gd name="connsiteX29" fmla="*/ 0 w 1864712"/>
              <a:gd name="connsiteY29" fmla="*/ 555865 h 1816444"/>
              <a:gd name="connsiteX30" fmla="*/ 0 w 1864712"/>
              <a:gd name="connsiteY30" fmla="*/ 521471 h 1816444"/>
              <a:gd name="connsiteX31" fmla="*/ 1381 w 1864712"/>
              <a:gd name="connsiteY31" fmla="*/ 509950 h 1816444"/>
              <a:gd name="connsiteX32" fmla="*/ 11137 w 1864712"/>
              <a:gd name="connsiteY32" fmla="*/ 427789 h 1816444"/>
              <a:gd name="connsiteX33" fmla="*/ 122847 w 1864712"/>
              <a:gd name="connsiteY33" fmla="*/ 219066 h 1816444"/>
              <a:gd name="connsiteX34" fmla="*/ 265722 w 1864712"/>
              <a:gd name="connsiteY34" fmla="*/ 117649 h 1816444"/>
              <a:gd name="connsiteX35" fmla="*/ 465747 w 1864712"/>
              <a:gd name="connsiteY35" fmla="*/ 47009 h 1816444"/>
              <a:gd name="connsiteX36" fmla="*/ 637369 w 1864712"/>
              <a:gd name="connsiteY36" fmla="*/ 16987 h 1816444"/>
              <a:gd name="connsiteX37" fmla="*/ 776014 w 1864712"/>
              <a:gd name="connsiteY37" fmla="*/ 5046 h 1816444"/>
              <a:gd name="connsiteX38" fmla="*/ 913622 w 1864712"/>
              <a:gd name="connsiteY38" fmla="*/ 841 h 1816444"/>
              <a:gd name="connsiteX39" fmla="*/ 920616 w 1864712"/>
              <a:gd name="connsiteY39" fmla="*/ 0 h 18164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</a:cxnLst>
            <a:rect l="l" t="t" r="r" b="b"/>
            <a:pathLst>
              <a:path w="1864712" h="1816444">
                <a:moveTo>
                  <a:pt x="920616" y="0"/>
                </a:moveTo>
                <a:cubicBezTo>
                  <a:pt x="928471" y="0"/>
                  <a:pt x="936241" y="0"/>
                  <a:pt x="944097" y="0"/>
                </a:cubicBezTo>
                <a:cubicBezTo>
                  <a:pt x="947464" y="252"/>
                  <a:pt x="950831" y="757"/>
                  <a:pt x="954197" y="841"/>
                </a:cubicBezTo>
                <a:cubicBezTo>
                  <a:pt x="1012556" y="1430"/>
                  <a:pt x="1071001" y="3364"/>
                  <a:pt x="1129273" y="7569"/>
                </a:cubicBezTo>
                <a:cubicBezTo>
                  <a:pt x="1200063" y="12783"/>
                  <a:pt x="1270508" y="21108"/>
                  <a:pt x="1340176" y="34479"/>
                </a:cubicBezTo>
                <a:cubicBezTo>
                  <a:pt x="1406390" y="47261"/>
                  <a:pt x="1471310" y="64416"/>
                  <a:pt x="1534157" y="89140"/>
                </a:cubicBezTo>
                <a:cubicBezTo>
                  <a:pt x="1592430" y="112098"/>
                  <a:pt x="1647422" y="140943"/>
                  <a:pt x="1696888" y="179878"/>
                </a:cubicBezTo>
                <a:cubicBezTo>
                  <a:pt x="1767937" y="235886"/>
                  <a:pt x="1818008" y="306357"/>
                  <a:pt x="1843562" y="393731"/>
                </a:cubicBezTo>
                <a:cubicBezTo>
                  <a:pt x="1853489" y="427621"/>
                  <a:pt x="1859360" y="462269"/>
                  <a:pt x="1861776" y="497504"/>
                </a:cubicBezTo>
                <a:cubicBezTo>
                  <a:pt x="1862295" y="504989"/>
                  <a:pt x="1863676" y="512388"/>
                  <a:pt x="1864712" y="519873"/>
                </a:cubicBezTo>
                <a:cubicBezTo>
                  <a:pt x="1864712" y="531899"/>
                  <a:pt x="1864712" y="543924"/>
                  <a:pt x="1864712" y="555865"/>
                </a:cubicBezTo>
                <a:cubicBezTo>
                  <a:pt x="1863935" y="560743"/>
                  <a:pt x="1862640" y="565536"/>
                  <a:pt x="1862381" y="570498"/>
                </a:cubicBezTo>
                <a:cubicBezTo>
                  <a:pt x="1859360" y="627430"/>
                  <a:pt x="1849691" y="683437"/>
                  <a:pt x="1835619" y="738687"/>
                </a:cubicBezTo>
                <a:cubicBezTo>
                  <a:pt x="1816454" y="813868"/>
                  <a:pt x="1789951" y="886610"/>
                  <a:pt x="1758959" y="957670"/>
                </a:cubicBezTo>
                <a:cubicBezTo>
                  <a:pt x="1713981" y="1061190"/>
                  <a:pt x="1660716" y="1160422"/>
                  <a:pt x="1602616" y="1257131"/>
                </a:cubicBezTo>
                <a:cubicBezTo>
                  <a:pt x="1546330" y="1350728"/>
                  <a:pt x="1485381" y="1441046"/>
                  <a:pt x="1415455" y="1525056"/>
                </a:cubicBezTo>
                <a:cubicBezTo>
                  <a:pt x="1368060" y="1581904"/>
                  <a:pt x="1317039" y="1635220"/>
                  <a:pt x="1259544" y="1681976"/>
                </a:cubicBezTo>
                <a:cubicBezTo>
                  <a:pt x="1213444" y="1719567"/>
                  <a:pt x="1164064" y="1752027"/>
                  <a:pt x="1109590" y="1776163"/>
                </a:cubicBezTo>
                <a:cubicBezTo>
                  <a:pt x="1064872" y="1795925"/>
                  <a:pt x="1018426" y="1809128"/>
                  <a:pt x="969650" y="1813753"/>
                </a:cubicBezTo>
                <a:cubicBezTo>
                  <a:pt x="961622" y="1814509"/>
                  <a:pt x="953679" y="1815519"/>
                  <a:pt x="945651" y="1816444"/>
                </a:cubicBezTo>
                <a:cubicBezTo>
                  <a:pt x="936241" y="1816444"/>
                  <a:pt x="926918" y="1816444"/>
                  <a:pt x="917508" y="1816444"/>
                </a:cubicBezTo>
                <a:cubicBezTo>
                  <a:pt x="915176" y="1816023"/>
                  <a:pt x="912932" y="1815351"/>
                  <a:pt x="910601" y="1815182"/>
                </a:cubicBezTo>
                <a:cubicBezTo>
                  <a:pt x="896875" y="1813669"/>
                  <a:pt x="883062" y="1812828"/>
                  <a:pt x="869422" y="1810726"/>
                </a:cubicBezTo>
                <a:cubicBezTo>
                  <a:pt x="814948" y="1802569"/>
                  <a:pt x="764014" y="1783900"/>
                  <a:pt x="715583" y="1757914"/>
                </a:cubicBezTo>
                <a:cubicBezTo>
                  <a:pt x="653340" y="1724528"/>
                  <a:pt x="598262" y="1681304"/>
                  <a:pt x="547241" y="1632697"/>
                </a:cubicBezTo>
                <a:cubicBezTo>
                  <a:pt x="491904" y="1580054"/>
                  <a:pt x="442264" y="1522281"/>
                  <a:pt x="396683" y="1461144"/>
                </a:cubicBezTo>
                <a:cubicBezTo>
                  <a:pt x="291189" y="1319781"/>
                  <a:pt x="202529" y="1168327"/>
                  <a:pt x="127077" y="1009051"/>
                </a:cubicBezTo>
                <a:cubicBezTo>
                  <a:pt x="86675" y="923780"/>
                  <a:pt x="52575" y="836153"/>
                  <a:pt x="29006" y="744742"/>
                </a:cubicBezTo>
                <a:cubicBezTo>
                  <a:pt x="13727" y="685792"/>
                  <a:pt x="2331" y="626168"/>
                  <a:pt x="1295" y="565032"/>
                </a:cubicBezTo>
                <a:cubicBezTo>
                  <a:pt x="1208" y="561920"/>
                  <a:pt x="431" y="558893"/>
                  <a:pt x="0" y="555865"/>
                </a:cubicBezTo>
                <a:cubicBezTo>
                  <a:pt x="0" y="544429"/>
                  <a:pt x="0" y="532908"/>
                  <a:pt x="0" y="521471"/>
                </a:cubicBezTo>
                <a:cubicBezTo>
                  <a:pt x="518" y="517602"/>
                  <a:pt x="1381" y="513818"/>
                  <a:pt x="1381" y="509950"/>
                </a:cubicBezTo>
                <a:cubicBezTo>
                  <a:pt x="1468" y="482199"/>
                  <a:pt x="5352" y="454868"/>
                  <a:pt x="11137" y="427789"/>
                </a:cubicBezTo>
                <a:cubicBezTo>
                  <a:pt x="28143" y="347395"/>
                  <a:pt x="65006" y="277597"/>
                  <a:pt x="122847" y="219066"/>
                </a:cubicBezTo>
                <a:cubicBezTo>
                  <a:pt x="164544" y="176935"/>
                  <a:pt x="212974" y="144223"/>
                  <a:pt x="265722" y="117649"/>
                </a:cubicBezTo>
                <a:cubicBezTo>
                  <a:pt x="329433" y="85608"/>
                  <a:pt x="396597" y="63575"/>
                  <a:pt x="465747" y="47009"/>
                </a:cubicBezTo>
                <a:cubicBezTo>
                  <a:pt x="522378" y="33554"/>
                  <a:pt x="579614" y="23967"/>
                  <a:pt x="637369" y="16987"/>
                </a:cubicBezTo>
                <a:cubicBezTo>
                  <a:pt x="683468" y="11353"/>
                  <a:pt x="729741" y="7064"/>
                  <a:pt x="776014" y="5046"/>
                </a:cubicBezTo>
                <a:cubicBezTo>
                  <a:pt x="821941" y="2943"/>
                  <a:pt x="867782" y="2186"/>
                  <a:pt x="913622" y="841"/>
                </a:cubicBezTo>
                <a:cubicBezTo>
                  <a:pt x="915953" y="757"/>
                  <a:pt x="918285" y="252"/>
                  <a:pt x="920616" y="0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3255227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4"/>
          <p:cNvSpPr>
            <a:spLocks noGrp="1"/>
          </p:cNvSpPr>
          <p:nvPr>
            <p:ph type="title"/>
          </p:nvPr>
        </p:nvSpPr>
        <p:spPr>
          <a:xfrm>
            <a:off x="1790700" y="1042859"/>
            <a:ext cx="8610600" cy="495486"/>
          </a:xfrm>
          <a:prstGeom prst="rect">
            <a:avLst/>
          </a:prstGeom>
        </p:spPr>
        <p:txBody>
          <a:bodyPr/>
          <a:lstStyle>
            <a:lvl1pPr algn="ctr">
              <a:defRPr sz="32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da-DK"/>
              <a:t>Click to edit Master title style</a:t>
            </a:r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5" hasCustomPrompt="1"/>
          </p:nvPr>
        </p:nvSpPr>
        <p:spPr>
          <a:xfrm>
            <a:off x="1790700" y="1989666"/>
            <a:ext cx="2637367" cy="212952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4777316" y="1989666"/>
            <a:ext cx="2637367" cy="212952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7" hasCustomPrompt="1"/>
          </p:nvPr>
        </p:nvSpPr>
        <p:spPr>
          <a:xfrm>
            <a:off x="7763932" y="1989666"/>
            <a:ext cx="2637367" cy="2129523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38710331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3664794" y="0"/>
            <a:ext cx="8527206" cy="6858000"/>
          </a:xfrm>
          <a:custGeom>
            <a:avLst/>
            <a:gdLst>
              <a:gd name="connsiteX0" fmla="*/ 2971144 w 8527206"/>
              <a:gd name="connsiteY0" fmla="*/ 0 h 6858000"/>
              <a:gd name="connsiteX1" fmla="*/ 7752484 w 8527206"/>
              <a:gd name="connsiteY1" fmla="*/ 0 h 6858000"/>
              <a:gd name="connsiteX2" fmla="*/ 7863964 w 8527206"/>
              <a:gd name="connsiteY2" fmla="*/ 173070 h 6858000"/>
              <a:gd name="connsiteX3" fmla="*/ 8367759 w 8527206"/>
              <a:gd name="connsiteY3" fmla="*/ 1196300 h 6858000"/>
              <a:gd name="connsiteX4" fmla="*/ 8527206 w 8527206"/>
              <a:gd name="connsiteY4" fmla="*/ 1631659 h 6858000"/>
              <a:gd name="connsiteX5" fmla="*/ 8527206 w 8527206"/>
              <a:gd name="connsiteY5" fmla="*/ 6858000 h 6858000"/>
              <a:gd name="connsiteX6" fmla="*/ 1968306 w 8527206"/>
              <a:gd name="connsiteY6" fmla="*/ 6858000 h 6858000"/>
              <a:gd name="connsiteX7" fmla="*/ 1963205 w 8527206"/>
              <a:gd name="connsiteY7" fmla="*/ 6855630 h 6858000"/>
              <a:gd name="connsiteX8" fmla="*/ 1098144 w 8527206"/>
              <a:gd name="connsiteY8" fmla="*/ 6340068 h 6858000"/>
              <a:gd name="connsiteX9" fmla="*/ 430707 w 8527206"/>
              <a:gd name="connsiteY9" fmla="*/ 5690993 h 6858000"/>
              <a:gd name="connsiteX10" fmla="*/ 561 w 8527206"/>
              <a:gd name="connsiteY10" fmla="*/ 4468699 h 6858000"/>
              <a:gd name="connsiteX11" fmla="*/ 47377 w 8527206"/>
              <a:gd name="connsiteY11" fmla="*/ 3944319 h 6858000"/>
              <a:gd name="connsiteX12" fmla="*/ 62248 w 8527206"/>
              <a:gd name="connsiteY12" fmla="*/ 3832572 h 6858000"/>
              <a:gd name="connsiteX13" fmla="*/ 108969 w 8527206"/>
              <a:gd name="connsiteY13" fmla="*/ 3658898 h 6858000"/>
              <a:gd name="connsiteX14" fmla="*/ 139210 w 8527206"/>
              <a:gd name="connsiteY14" fmla="*/ 3591318 h 6858000"/>
              <a:gd name="connsiteX15" fmla="*/ 486668 w 8527206"/>
              <a:gd name="connsiteY15" fmla="*/ 2814496 h 6858000"/>
              <a:gd name="connsiteX16" fmla="*/ 1140836 w 8527206"/>
              <a:gd name="connsiteY16" fmla="*/ 1857357 h 6858000"/>
              <a:gd name="connsiteX17" fmla="*/ 2283959 w 8527206"/>
              <a:gd name="connsiteY17" fmla="*/ 615316 h 6858000"/>
              <a:gd name="connsiteX18" fmla="*/ 2889393 w 8527206"/>
              <a:gd name="connsiteY18" fmla="*/ 6639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8527206" h="6858000">
                <a:moveTo>
                  <a:pt x="2971144" y="0"/>
                </a:moveTo>
                <a:lnTo>
                  <a:pt x="7752484" y="0"/>
                </a:lnTo>
                <a:lnTo>
                  <a:pt x="7863964" y="173070"/>
                </a:lnTo>
                <a:cubicBezTo>
                  <a:pt x="8062644" y="498922"/>
                  <a:pt x="8227177" y="842128"/>
                  <a:pt x="8367759" y="1196300"/>
                </a:cubicBezTo>
                <a:lnTo>
                  <a:pt x="8527206" y="1631659"/>
                </a:lnTo>
                <a:lnTo>
                  <a:pt x="8527206" y="6858000"/>
                </a:lnTo>
                <a:lnTo>
                  <a:pt x="1968306" y="6858000"/>
                </a:lnTo>
                <a:lnTo>
                  <a:pt x="1963205" y="6855630"/>
                </a:lnTo>
                <a:cubicBezTo>
                  <a:pt x="1660296" y="6708000"/>
                  <a:pt x="1369305" y="6540949"/>
                  <a:pt x="1098144" y="6340068"/>
                </a:cubicBezTo>
                <a:cubicBezTo>
                  <a:pt x="846763" y="6153646"/>
                  <a:pt x="618854" y="5943079"/>
                  <a:pt x="430707" y="5690993"/>
                </a:cubicBezTo>
                <a:cubicBezTo>
                  <a:pt x="160576" y="5328514"/>
                  <a:pt x="10446" y="4923475"/>
                  <a:pt x="561" y="4468699"/>
                </a:cubicBezTo>
                <a:cubicBezTo>
                  <a:pt x="-3349" y="4292282"/>
                  <a:pt x="13298" y="4117477"/>
                  <a:pt x="47377" y="3944319"/>
                </a:cubicBezTo>
                <a:cubicBezTo>
                  <a:pt x="54591" y="3907531"/>
                  <a:pt x="57532" y="3870032"/>
                  <a:pt x="62248" y="3832572"/>
                </a:cubicBezTo>
                <a:cubicBezTo>
                  <a:pt x="77858" y="3774545"/>
                  <a:pt x="93468" y="3716519"/>
                  <a:pt x="108969" y="3658898"/>
                </a:cubicBezTo>
                <a:cubicBezTo>
                  <a:pt x="119050" y="3636370"/>
                  <a:pt x="131522" y="3614925"/>
                  <a:pt x="139210" y="3591318"/>
                </a:cubicBezTo>
                <a:cubicBezTo>
                  <a:pt x="227692" y="3320526"/>
                  <a:pt x="347049" y="3062829"/>
                  <a:pt x="486668" y="2814496"/>
                </a:cubicBezTo>
                <a:cubicBezTo>
                  <a:pt x="676736" y="2476606"/>
                  <a:pt x="899048" y="2160010"/>
                  <a:pt x="1140836" y="1857357"/>
                </a:cubicBezTo>
                <a:cubicBezTo>
                  <a:pt x="1492243" y="1416226"/>
                  <a:pt x="1878074" y="1006548"/>
                  <a:pt x="2283959" y="615316"/>
                </a:cubicBezTo>
                <a:cubicBezTo>
                  <a:pt x="2480507" y="426033"/>
                  <a:pt x="2681614" y="242218"/>
                  <a:pt x="2889393" y="66398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395044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0831213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6096000" cy="6858000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6" hasCustomPrompt="1"/>
          </p:nvPr>
        </p:nvSpPr>
        <p:spPr>
          <a:xfrm>
            <a:off x="7304184" y="1717589"/>
            <a:ext cx="3097116" cy="3422822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anchor="ctr"/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3752280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432">
          <p15:clr>
            <a:srgbClr val="FBAE40"/>
          </p15:clr>
        </p15:guide>
        <p15:guide id="3" pos="7248">
          <p15:clr>
            <a:srgbClr val="FBAE40"/>
          </p15:clr>
        </p15:guide>
        <p15:guide id="4" orient="horz" pos="432">
          <p15:clr>
            <a:srgbClr val="FBAE40"/>
          </p15:clr>
        </p15:guide>
        <p15:guide id="5" orient="horz" pos="3888">
          <p15:clr>
            <a:srgbClr val="FBAE40"/>
          </p15:clr>
        </p15:guide>
        <p15:guide id="6" pos="3840">
          <p15:clr>
            <a:srgbClr val="FBAE40"/>
          </p15:clr>
        </p15:guide>
        <p15:guide id="7" pos="1128">
          <p15:clr>
            <a:srgbClr val="FBAE40"/>
          </p15:clr>
        </p15:guide>
        <p15:guide id="8" pos="6552">
          <p15:clr>
            <a:srgbClr val="FBAE40"/>
          </p15:clr>
        </p15:guide>
        <p15:guide id="9" orient="horz" pos="194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uppenavn layout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3"/>
          <p:cNvSpPr>
            <a:spLocks noGrp="1"/>
          </p:cNvSpPr>
          <p:nvPr>
            <p:ph type="body" sz="quarter" idx="10"/>
          </p:nvPr>
        </p:nvSpPr>
        <p:spPr>
          <a:xfrm>
            <a:off x="5892096" y="1693333"/>
            <a:ext cx="5283200" cy="3048000"/>
          </a:xfrm>
          <a:prstGeom prst="rect">
            <a:avLst/>
          </a:prstGeom>
        </p:spPr>
        <p:txBody>
          <a:bodyPr anchor="ctr" anchorCtr="0"/>
          <a:lstStyle>
            <a:lvl1pPr marL="0" indent="0">
              <a:buNone/>
              <a:defRPr sz="44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10903037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 userDrawn="1"/>
        </p:nvSpPr>
        <p:spPr>
          <a:xfrm>
            <a:off x="914400" y="1122363"/>
            <a:ext cx="10363200" cy="2387600"/>
          </a:xfrm>
          <a:prstGeom prst="rect">
            <a:avLst/>
          </a:prstGeom>
        </p:spPr>
        <p:txBody>
          <a:bodyPr anchor="b"/>
          <a:lstStyle>
            <a:lvl1pPr algn="ctr" defTabSz="457200" rtl="0" eaLnBrk="1" latinLnBrk="0" hangingPunct="1"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en-US" sz="4000" dirty="0">
              <a:solidFill>
                <a:srgbClr val="0F79A4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1117600" y="1274763"/>
            <a:ext cx="10363200" cy="2387600"/>
          </a:xfrm>
          <a:prstGeom prst="rect">
            <a:avLst/>
          </a:prstGeom>
        </p:spPr>
        <p:txBody>
          <a:bodyPr anchor="b"/>
          <a:lstStyle>
            <a:lvl1pPr algn="ctr">
              <a:defRPr sz="540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59514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838200" y="1825626"/>
            <a:ext cx="10515600" cy="4076411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90167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nits titel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31851" y="1535167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46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831851" y="4414892"/>
            <a:ext cx="10515600" cy="150018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345842344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5181600" cy="4093037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181600" cy="4093037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058482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405274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 b="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405274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261122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7817433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28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2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8561100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CDF246-3A21-4EE2-ACF6-56C0200E008B}" type="datetimeFigureOut">
              <a:rPr lang="da-DK" smtClean="0"/>
              <a:t>26-10-2020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9A41D-7102-4A03-B33F-93E7F5EC502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513146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 sz="40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084724"/>
          </a:xfrm>
          <a:prstGeom prst="rect">
            <a:avLst/>
          </a:prstGeom>
        </p:spPr>
        <p:txBody>
          <a:bodyPr vert="eaVert"/>
          <a:lstStyle>
            <a:lvl1pPr>
              <a:defRPr sz="2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1502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536911"/>
          </a:xfrm>
          <a:prstGeom prst="rect">
            <a:avLst/>
          </a:prstGeom>
        </p:spPr>
        <p:txBody>
          <a:bodyPr vert="eaVert"/>
          <a:lstStyle>
            <a:lvl1pPr>
              <a:defRPr sz="4000">
                <a:solidFill>
                  <a:schemeClr val="accent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4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536911"/>
          </a:xfrm>
          <a:prstGeom prst="rect">
            <a:avLst/>
          </a:prstGeom>
        </p:spPr>
        <p:txBody>
          <a:bodyPr vert="eaVert"/>
          <a:lstStyle>
            <a:lvl1pPr>
              <a:defRPr sz="2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4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1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7524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e med hvidt logo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lede 10">
            <a:extLst>
              <a:ext uri="{FF2B5EF4-FFF2-40B4-BE49-F238E27FC236}">
                <a16:creationId xmlns="" xmlns:a16="http://schemas.microsoft.com/office/drawing/2014/main" id="{085900CC-2CBA-4239-887D-8168B508FB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2486897" y="2699191"/>
            <a:ext cx="7218206" cy="1383299"/>
          </a:xfrm>
          <a:prstGeom prst="rect">
            <a:avLst/>
          </a:prstGeom>
        </p:spPr>
      </p:pic>
      <p:sp>
        <p:nvSpPr>
          <p:cNvPr id="12" name="textruta 5">
            <a:extLst>
              <a:ext uri="{FF2B5EF4-FFF2-40B4-BE49-F238E27FC236}">
                <a16:creationId xmlns="" xmlns:a16="http://schemas.microsoft.com/office/drawing/2014/main" id="{5F26805E-A452-42A5-A24D-67EF3F8F8339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7725467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e med rødt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lede 10">
            <a:extLst>
              <a:ext uri="{FF2B5EF4-FFF2-40B4-BE49-F238E27FC236}">
                <a16:creationId xmlns="" xmlns:a16="http://schemas.microsoft.com/office/drawing/2014/main" id="{085900CC-2CBA-4239-887D-8168B508FB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86897" y="2699191"/>
            <a:ext cx="7218205" cy="1383299"/>
          </a:xfrm>
          <a:prstGeom prst="rect">
            <a:avLst/>
          </a:prstGeom>
        </p:spPr>
      </p:pic>
      <p:sp>
        <p:nvSpPr>
          <p:cNvPr id="4" name="textruta 5">
            <a:extLst>
              <a:ext uri="{FF2B5EF4-FFF2-40B4-BE49-F238E27FC236}">
                <a16:creationId xmlns="" xmlns:a16="http://schemas.microsoft.com/office/drawing/2014/main" id="{66E5ABDF-4970-48FB-8C66-CBA6BC71546C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0956209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side">
    <p:bg bwMode="auto"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1">
            <a:extLst>
              <a:ext uri="{FF2B5EF4-FFF2-40B4-BE49-F238E27FC236}">
                <a16:creationId xmlns="" xmlns:a16="http://schemas.microsoft.com/office/drawing/2014/main" id="{0E205C43-A374-43F4-B610-88ECF23197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47900" y="2735263"/>
            <a:ext cx="7696200" cy="1816100"/>
          </a:xfrm>
        </p:spPr>
        <p:txBody>
          <a:bodyPr anchor="t" anchorCtr="0"/>
          <a:lstStyle>
            <a:lvl1pPr algn="ctr">
              <a:defRPr sz="62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5" name="Undertitel 2">
            <a:extLst>
              <a:ext uri="{FF2B5EF4-FFF2-40B4-BE49-F238E27FC236}">
                <a16:creationId xmlns="" xmlns:a16="http://schemas.microsoft.com/office/drawing/2014/main" id="{41A2E550-A623-4794-8776-656AA69E21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47600" y="1940720"/>
            <a:ext cx="7696800" cy="365918"/>
          </a:xfrm>
        </p:spPr>
        <p:txBody>
          <a:bodyPr anchor="b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  <a:endParaRPr lang="da-DK" dirty="0"/>
          </a:p>
        </p:txBody>
      </p:sp>
      <p:sp>
        <p:nvSpPr>
          <p:cNvPr id="6" name="textruta 5">
            <a:extLst>
              <a:ext uri="{FF2B5EF4-FFF2-40B4-BE49-F238E27FC236}">
                <a16:creationId xmlns="" xmlns:a16="http://schemas.microsoft.com/office/drawing/2014/main" id="{715F7491-F722-4991-8374-1527D86C1ED3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51820600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slide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BBCF91E0-86C5-44BC-9E5B-A275AB1783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247900" y="2735263"/>
            <a:ext cx="7696200" cy="1816100"/>
          </a:xfrm>
        </p:spPr>
        <p:txBody>
          <a:bodyPr anchor="t" anchorCtr="0"/>
          <a:lstStyle>
            <a:lvl1pPr algn="ctr">
              <a:defRPr sz="62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Undertitel 2">
            <a:extLst>
              <a:ext uri="{FF2B5EF4-FFF2-40B4-BE49-F238E27FC236}">
                <a16:creationId xmlns="" xmlns:a16="http://schemas.microsoft.com/office/drawing/2014/main" id="{ECEE77F6-34DB-4C85-8F26-9C4269A0DD4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247600" y="1940720"/>
            <a:ext cx="7696800" cy="365918"/>
          </a:xfrm>
        </p:spPr>
        <p:txBody>
          <a:bodyPr anchor="b" anchorCtr="0"/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/>
              <a:t>Date</a:t>
            </a:r>
          </a:p>
        </p:txBody>
      </p:sp>
      <p:sp>
        <p:nvSpPr>
          <p:cNvPr id="5" name="textruta 5">
            <a:extLst>
              <a:ext uri="{FF2B5EF4-FFF2-40B4-BE49-F238E27FC236}">
                <a16:creationId xmlns="" xmlns:a16="http://schemas.microsoft.com/office/drawing/2014/main" id="{0046E350-B263-4AB6-8E48-6BAF38C04338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7867795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 2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BBCF91E0-86C5-44BC-9E5B-A275AB1783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0113" y="814387"/>
            <a:ext cx="10391774" cy="5229225"/>
          </a:xfrm>
          <a:solidFill>
            <a:schemeClr val="accent3"/>
          </a:solidFill>
        </p:spPr>
        <p:txBody>
          <a:bodyPr lIns="2304000" tIns="1224000" rIns="2304000" bIns="1526400" anchor="ctr" anchorCtr="0"/>
          <a:lstStyle>
            <a:lvl1pPr algn="ctr">
              <a:lnSpc>
                <a:spcPct val="95000"/>
              </a:lnSpc>
              <a:defRPr sz="52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4" name="textruta 5">
            <a:extLst>
              <a:ext uri="{FF2B5EF4-FFF2-40B4-BE49-F238E27FC236}">
                <a16:creationId xmlns="" xmlns:a16="http://schemas.microsoft.com/office/drawing/2014/main" id="{03F5DF88-F926-42EA-98F3-98ABEDB0DCAD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5008383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 3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BBCF91E0-86C5-44BC-9E5B-A275AB1783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0113" y="814387"/>
            <a:ext cx="10391774" cy="5229225"/>
          </a:xfrm>
          <a:solidFill>
            <a:schemeClr val="accent3"/>
          </a:solidFill>
        </p:spPr>
        <p:txBody>
          <a:bodyPr lIns="1080000" tIns="2340000" rIns="1080000" bIns="1584000" anchor="t" anchorCtr="0"/>
          <a:lstStyle>
            <a:lvl1pPr algn="ctr">
              <a:lnSpc>
                <a:spcPct val="95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6" name="textruta 5">
            <a:extLst>
              <a:ext uri="{FF2B5EF4-FFF2-40B4-BE49-F238E27FC236}">
                <a16:creationId xmlns="" xmlns:a16="http://schemas.microsoft.com/office/drawing/2014/main" id="{463714A4-C8A1-4E8F-9461-189BBE01B6F2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841814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 4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BBCF91E0-86C5-44BC-9E5B-A275AB1783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00113" y="814387"/>
            <a:ext cx="10391774" cy="5229225"/>
          </a:xfrm>
          <a:solidFill>
            <a:schemeClr val="accent2"/>
          </a:solidFill>
        </p:spPr>
        <p:txBody>
          <a:bodyPr lIns="1080000" tIns="2340000" rIns="1080000" bIns="1584000" anchor="t" anchorCtr="0"/>
          <a:lstStyle>
            <a:lvl1pPr algn="ctr">
              <a:lnSpc>
                <a:spcPct val="95000"/>
              </a:lnSpc>
              <a:defRPr sz="40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6" name="textruta 5">
            <a:extLst>
              <a:ext uri="{FF2B5EF4-FFF2-40B4-BE49-F238E27FC236}">
                <a16:creationId xmlns="" xmlns:a16="http://schemas.microsoft.com/office/drawing/2014/main" id="{4310297E-5A2F-4DBD-8D89-118CBBBAE18A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0474116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ruta 5">
            <a:extLst>
              <a:ext uri="{FF2B5EF4-FFF2-40B4-BE49-F238E27FC236}">
                <a16:creationId xmlns="" xmlns:a16="http://schemas.microsoft.com/office/drawing/2014/main" id="{03F5DF88-F926-42EA-98F3-98ABEDB0DCAD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  <p:sp>
        <p:nvSpPr>
          <p:cNvPr id="7" name="Pladsholder til tekst 6">
            <a:extLst>
              <a:ext uri="{FF2B5EF4-FFF2-40B4-BE49-F238E27FC236}">
                <a16:creationId xmlns="" xmlns:a16="http://schemas.microsoft.com/office/drawing/2014/main" id="{56997FBA-3981-4502-BC71-A4AEEC4D4B3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00113" y="814387"/>
            <a:ext cx="10391773" cy="5229225"/>
          </a:xfrm>
          <a:solidFill>
            <a:schemeClr val="accent5"/>
          </a:solidFill>
        </p:spPr>
        <p:txBody>
          <a:bodyPr lIns="648000" tIns="1404000" rIns="5580000"/>
          <a:lstStyle>
            <a:lvl1pPr marL="288000" indent="-288000">
              <a:spcBef>
                <a:spcPts val="1000"/>
              </a:spcBef>
              <a:buSzPct val="100000"/>
              <a:buFont typeface="+mj-lt"/>
              <a:buAutoNum type="arabicPeriod"/>
              <a:defRPr/>
            </a:lvl1pPr>
            <a:lvl2pPr marL="1188000" indent="-576000"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8" name="Titel 7">
            <a:extLst>
              <a:ext uri="{FF2B5EF4-FFF2-40B4-BE49-F238E27FC236}">
                <a16:creationId xmlns="" xmlns:a16="http://schemas.microsoft.com/office/drawing/2014/main" id="{FE45A917-A5A7-4981-9391-1821015503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8607" y="1346200"/>
            <a:ext cx="4174493" cy="396874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072383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376">
          <p15:clr>
            <a:srgbClr val="FBAE40"/>
          </p15:clr>
        </p15:guide>
        <p15:guide id="2" orient="horz" pos="3027">
          <p15:clr>
            <a:srgbClr val="FBAE40"/>
          </p15:clr>
        </p15:guide>
        <p15:guide id="3" orient="horz" pos="129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CDF246-3A21-4EE2-ACF6-56C0200E008B}" type="datetimeFigureOut">
              <a:rPr lang="da-DK" smtClean="0"/>
              <a:t>26-10-2020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9A41D-7102-4A03-B33F-93E7F5EC502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296850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8497CAF2-3CF1-468E-8726-B32027955B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3688"/>
            <a:ext cx="10677547" cy="10152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="" xmlns:a16="http://schemas.microsoft.com/office/drawing/2014/main" id="{7D405E1E-7CA2-485A-8BC8-BECF929CCB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978" y="1920520"/>
            <a:ext cx="10677545" cy="3804004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="" xmlns:a16="http://schemas.microsoft.com/office/drawing/2014/main" id="{9A56A339-8E9E-4C4B-A63D-2CBE9632E9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="" xmlns:a16="http://schemas.microsoft.com/office/drawing/2014/main" id="{4A74143D-101B-47F6-8ABE-E23DD346D9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>
                <a:solidFill>
                  <a:prstClr val="black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="" xmlns:a16="http://schemas.microsoft.com/office/drawing/2014/main" id="{EEDFA6ED-BB45-453B-882D-8D6E955281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3228AB-E075-C64B-97CF-3B034BE37EAD}" type="datetime1">
              <a:rPr lang="da-DK" smtClean="0">
                <a:solidFill>
                  <a:prstClr val="black"/>
                </a:solidFill>
              </a:rPr>
              <a:pPr/>
              <a:t>26-10-2020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92841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FF0DEB4D-63B8-4D15-A3BE-38A01EE11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3688"/>
            <a:ext cx="10677548" cy="10152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="" xmlns:a16="http://schemas.microsoft.com/office/drawing/2014/main" id="{1CEBCBA2-0015-439A-B0D3-B2DB5D567E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1978" y="1920521"/>
            <a:ext cx="5156089" cy="380520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="" xmlns:a16="http://schemas.microsoft.com/office/drawing/2014/main" id="{D6CBB84C-3F5E-45F9-9323-EF2AF41538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80891" y="1920521"/>
            <a:ext cx="5156088" cy="380520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="" xmlns:a16="http://schemas.microsoft.com/office/drawing/2014/main" id="{84696385-6ED1-49EE-A8E3-8E1AC23F5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6" name="Pladsholder til sidefod 5">
            <a:extLst>
              <a:ext uri="{FF2B5EF4-FFF2-40B4-BE49-F238E27FC236}">
                <a16:creationId xmlns="" xmlns:a16="http://schemas.microsoft.com/office/drawing/2014/main" id="{C9036D23-04CA-458D-80B1-A69800A91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>
                <a:solidFill>
                  <a:prstClr val="black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="" xmlns:a16="http://schemas.microsoft.com/office/drawing/2014/main" id="{A3A655A5-A074-424E-BF36-7AA7DAE60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4BCAB9-5FAA-3048-AD0B-4EB07F9D38DF}" type="datetime1">
              <a:rPr lang="da-DK" smtClean="0">
                <a:solidFill>
                  <a:prstClr val="black"/>
                </a:solidFill>
              </a:rPr>
              <a:pPr/>
              <a:t>26-10-2020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9259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C0D3768F-D6B3-4787-A77E-A4A77465E1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4975" y="1311203"/>
            <a:ext cx="6242050" cy="1173162"/>
          </a:xfrm>
        </p:spPr>
        <p:txBody>
          <a:bodyPr anchor="t" anchorCtr="0"/>
          <a:lstStyle>
            <a:lvl1pPr algn="ctr">
              <a:defRPr sz="3400"/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="" xmlns:a16="http://schemas.microsoft.com/office/drawing/2014/main" id="{E17E2239-3F0C-48A6-9FE0-FCABBFBD0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974800" y="2655815"/>
            <a:ext cx="6242400" cy="2879724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="" xmlns:a16="http://schemas.microsoft.com/office/drawing/2014/main" id="{6EEF8328-C16E-4177-BBD0-87A0D1EBC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="" xmlns:a16="http://schemas.microsoft.com/office/drawing/2014/main" id="{6E02E910-DCD7-43A2-9532-191B1495B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>
                <a:solidFill>
                  <a:prstClr val="black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="" xmlns:a16="http://schemas.microsoft.com/office/drawing/2014/main" id="{227335C1-2438-40F8-A641-7C6E29949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7AD0AE7-68C1-A140-8881-B3C64D376441}" type="datetime1">
              <a:rPr lang="da-DK" smtClean="0">
                <a:solidFill>
                  <a:prstClr val="black"/>
                </a:solidFill>
              </a:rPr>
              <a:pPr/>
              <a:t>26-10-2020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14351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lede med overskrift og tekst i farvet fel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8497CAF2-3CF1-468E-8726-B32027955B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0413" y="1164664"/>
            <a:ext cx="5145087" cy="921310"/>
          </a:xfrm>
          <a:solidFill>
            <a:schemeClr val="accent1"/>
          </a:solidFill>
        </p:spPr>
        <p:txBody>
          <a:bodyPr lIns="475200" tIns="360000" rIns="475200" bIns="360000" anchor="t" anchorCtr="0"/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19" name="Pladsholder til tekst 18">
            <a:extLst>
              <a:ext uri="{FF2B5EF4-FFF2-40B4-BE49-F238E27FC236}">
                <a16:creationId xmlns="" xmlns:a16="http://schemas.microsoft.com/office/drawing/2014/main" id="{21BA241E-4FEB-4C51-B7C3-809A484F0C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60413" y="2085974"/>
            <a:ext cx="5144399" cy="3638551"/>
          </a:xfrm>
          <a:solidFill>
            <a:schemeClr val="accent2"/>
          </a:solidFill>
        </p:spPr>
        <p:txBody>
          <a:bodyPr lIns="475200" tIns="396000" rIns="475200" bIns="468000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="" xmlns:a16="http://schemas.microsoft.com/office/drawing/2014/main" id="{9A56A339-8E9E-4C4B-A63D-2CBE9632E9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="" xmlns:a16="http://schemas.microsoft.com/office/drawing/2014/main" id="{4A74143D-101B-47F6-8ABE-E23DD346D9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>
                <a:solidFill>
                  <a:prstClr val="white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white"/>
                </a:solidFill>
              </a:rPr>
              <a:t>Norlys</a:t>
            </a:r>
            <a:r>
              <a:rPr lang="da-DK" dirty="0">
                <a:solidFill>
                  <a:prstClr val="white"/>
                </a:solidFill>
              </a:rPr>
              <a:t> Vækstpulj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="" xmlns:a16="http://schemas.microsoft.com/office/drawing/2014/main" id="{EEDFA6ED-BB45-453B-882D-8D6E955281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8B146B0-5C2B-3C45-B997-943764A7FF49}" type="datetime1">
              <a:rPr lang="da-DK" smtClean="0">
                <a:solidFill>
                  <a:prstClr val="white"/>
                </a:solidFill>
              </a:rPr>
              <a:pPr/>
              <a:t>26-10-2020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7" name="Billede 16">
            <a:extLst>
              <a:ext uri="{FF2B5EF4-FFF2-40B4-BE49-F238E27FC236}">
                <a16:creationId xmlns="" xmlns:a16="http://schemas.microsoft.com/office/drawing/2014/main" id="{A46B4B90-9F36-4AAF-A538-F6A298D960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1" name="textruta 5">
            <a:extLst>
              <a:ext uri="{FF2B5EF4-FFF2-40B4-BE49-F238E27FC236}">
                <a16:creationId xmlns="" xmlns:a16="http://schemas.microsoft.com/office/drawing/2014/main" id="{B0F070E5-0D1E-4457-923E-43AAE89CF027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50262817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0FD4DCA0-DD52-400A-B789-E9E60A47B6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3688"/>
            <a:ext cx="10677547" cy="10152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="" xmlns:a16="http://schemas.microsoft.com/office/drawing/2014/main" id="{C1625C9B-9F02-4F0D-9E17-3ADF3620EF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1978" y="1928813"/>
            <a:ext cx="5148000" cy="442912"/>
          </a:xfrm>
          <a:solidFill>
            <a:schemeClr val="accent3"/>
          </a:solidFill>
        </p:spPr>
        <p:txBody>
          <a:bodyPr lIns="180000" rIns="180000" anchor="t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="" xmlns:a16="http://schemas.microsoft.com/office/drawing/2014/main" id="{DD0C71F5-7389-4491-B5C6-5C0AEB15509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92830" y="1928813"/>
            <a:ext cx="5148000" cy="442912"/>
          </a:xfrm>
          <a:solidFill>
            <a:schemeClr val="accent3"/>
          </a:solidFill>
        </p:spPr>
        <p:txBody>
          <a:bodyPr lIns="180000" rIns="180000" anchor="t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="" xmlns:a16="http://schemas.microsoft.com/office/drawing/2014/main" id="{E82AF51A-26E4-4399-85A3-34F3235133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977" y="2609850"/>
            <a:ext cx="5148000" cy="31146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3" name="Pladsholder til tekst 22">
            <a:extLst>
              <a:ext uri="{FF2B5EF4-FFF2-40B4-BE49-F238E27FC236}">
                <a16:creationId xmlns="" xmlns:a16="http://schemas.microsoft.com/office/drawing/2014/main" id="{0BDFA7B5-F6AD-4F0E-B386-080E7ED69F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92829" y="2609851"/>
            <a:ext cx="5148000" cy="3114675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Pladsholder til slidenummer 8">
            <a:extLst>
              <a:ext uri="{FF2B5EF4-FFF2-40B4-BE49-F238E27FC236}">
                <a16:creationId xmlns="" xmlns:a16="http://schemas.microsoft.com/office/drawing/2014/main" id="{816BE8C4-B108-4998-AAED-D146EF976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8" name="Pladsholder til sidefod 7">
            <a:extLst>
              <a:ext uri="{FF2B5EF4-FFF2-40B4-BE49-F238E27FC236}">
                <a16:creationId xmlns="" xmlns:a16="http://schemas.microsoft.com/office/drawing/2014/main" id="{931D4098-E562-44E4-84D3-C65975571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>
                <a:solidFill>
                  <a:prstClr val="black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="" xmlns:a16="http://schemas.microsoft.com/office/drawing/2014/main" id="{546889D8-9709-4F71-B18A-1D2B2BA4F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7852CD-8DB2-174B-AD30-40F26737D96A}" type="datetime1">
              <a:rPr lang="da-DK" smtClean="0">
                <a:solidFill>
                  <a:prstClr val="black"/>
                </a:solidFill>
              </a:rPr>
              <a:pPr/>
              <a:t>26-10-2020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99624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d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0FD4DCA0-DD52-400A-B789-E9E60A47B6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3688"/>
            <a:ext cx="10677546" cy="10152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="" xmlns:a16="http://schemas.microsoft.com/office/drawing/2014/main" id="{C1625C9B-9F02-4F0D-9E17-3ADF3620EF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1978" y="1919288"/>
            <a:ext cx="3400448" cy="442912"/>
          </a:xfrm>
          <a:solidFill>
            <a:schemeClr val="accent3"/>
          </a:solidFill>
        </p:spPr>
        <p:txBody>
          <a:bodyPr lIns="180000" rIns="180000" anchor="t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="" xmlns:a16="http://schemas.microsoft.com/office/drawing/2014/main" id="{DD0C71F5-7389-4491-B5C6-5C0AEB15509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97355" y="1919288"/>
            <a:ext cx="3400448" cy="442912"/>
          </a:xfrm>
          <a:solidFill>
            <a:schemeClr val="accent3"/>
          </a:solidFill>
        </p:spPr>
        <p:txBody>
          <a:bodyPr lIns="180000" rIns="180000" anchor="t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3" name="Pladsholder til tekst 4">
            <a:extLst>
              <a:ext uri="{FF2B5EF4-FFF2-40B4-BE49-F238E27FC236}">
                <a16:creationId xmlns="" xmlns:a16="http://schemas.microsoft.com/office/drawing/2014/main" id="{66CEEEDF-9C2D-494F-93E9-5CDED9C980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039077" y="1919288"/>
            <a:ext cx="3400448" cy="442912"/>
          </a:xfrm>
          <a:solidFill>
            <a:schemeClr val="accent3"/>
          </a:solidFill>
        </p:spPr>
        <p:txBody>
          <a:bodyPr lIns="180000" rIns="180000" anchor="t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="" xmlns:a16="http://schemas.microsoft.com/office/drawing/2014/main" id="{E82AF51A-26E4-4399-85A3-34F3235133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977" y="2600325"/>
            <a:ext cx="3400448" cy="312419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3" name="Pladsholder til tekst 22">
            <a:extLst>
              <a:ext uri="{FF2B5EF4-FFF2-40B4-BE49-F238E27FC236}">
                <a16:creationId xmlns="" xmlns:a16="http://schemas.microsoft.com/office/drawing/2014/main" id="{0BDFA7B5-F6AD-4F0E-B386-080E7ED69F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97354" y="2600326"/>
            <a:ext cx="3400448" cy="312419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4" name="Pladsholder til tekst 22">
            <a:extLst>
              <a:ext uri="{FF2B5EF4-FFF2-40B4-BE49-F238E27FC236}">
                <a16:creationId xmlns="" xmlns:a16="http://schemas.microsoft.com/office/drawing/2014/main" id="{9F9A14AB-5212-49B5-90C8-2B5D9BA946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39076" y="2600326"/>
            <a:ext cx="3400448" cy="3124199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Pladsholder til slidenummer 8">
            <a:extLst>
              <a:ext uri="{FF2B5EF4-FFF2-40B4-BE49-F238E27FC236}">
                <a16:creationId xmlns="" xmlns:a16="http://schemas.microsoft.com/office/drawing/2014/main" id="{816BE8C4-B108-4998-AAED-D146EF976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8" name="Pladsholder til sidefod 7">
            <a:extLst>
              <a:ext uri="{FF2B5EF4-FFF2-40B4-BE49-F238E27FC236}">
                <a16:creationId xmlns="" xmlns:a16="http://schemas.microsoft.com/office/drawing/2014/main" id="{931D4098-E562-44E4-84D3-C65975571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>
                <a:solidFill>
                  <a:prstClr val="black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="" xmlns:a16="http://schemas.microsoft.com/office/drawing/2014/main" id="{546889D8-9709-4F71-B18A-1D2B2BA4F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1F7858-DD04-B84D-812C-C2BA7F36B381}" type="datetime1">
              <a:rPr lang="da-DK" smtClean="0">
                <a:solidFill>
                  <a:prstClr val="black"/>
                </a:solidFill>
              </a:rPr>
              <a:pPr/>
              <a:t>26-10-2020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560395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C0D3768F-D6B3-4787-A77E-A4A77465E1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4975" y="1252537"/>
            <a:ext cx="6242050" cy="340155"/>
          </a:xfrm>
        </p:spPr>
        <p:txBody>
          <a:bodyPr anchor="t" anchorCtr="0"/>
          <a:lstStyle>
            <a:lvl1pPr algn="ctr">
              <a:defRPr sz="1600">
                <a:latin typeface="+mn-lt"/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="" xmlns:a16="http://schemas.microsoft.com/office/drawing/2014/main" id="{E17E2239-3F0C-48A6-9FE0-FCABBFBD0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19275" y="1947863"/>
            <a:ext cx="8553450" cy="3657600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3000"/>
              </a:spcBef>
              <a:buNone/>
              <a:defRPr sz="34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="" xmlns:a16="http://schemas.microsoft.com/office/drawing/2014/main" id="{6EEF8328-C16E-4177-BBD0-87A0D1EBC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="" xmlns:a16="http://schemas.microsoft.com/office/drawing/2014/main" id="{6E02E910-DCD7-43A2-9532-191B1495B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>
                <a:solidFill>
                  <a:prstClr val="black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="" xmlns:a16="http://schemas.microsoft.com/office/drawing/2014/main" id="{227335C1-2438-40F8-A641-7C6E29949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FCB0A4-31D8-1A4F-ACBE-8323F0BAD712}" type="datetime1">
              <a:rPr lang="da-DK" smtClean="0">
                <a:solidFill>
                  <a:prstClr val="black"/>
                </a:solidFill>
              </a:rPr>
              <a:pPr/>
              <a:t>26-10-2020</a:t>
            </a:fld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820399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 tekst iko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="" xmlns:a16="http://schemas.microsoft.com/office/drawing/2014/main" id="{E17E2239-3F0C-48A6-9FE0-FCABBFBD0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19463" y="1604350"/>
            <a:ext cx="5553075" cy="3657600"/>
          </a:xfrm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3000"/>
              </a:spcBef>
              <a:buNone/>
              <a:defRPr sz="34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="" xmlns:a16="http://schemas.microsoft.com/office/drawing/2014/main" id="{6EEF8328-C16E-4177-BBD0-87A0D1EBC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="" xmlns:a16="http://schemas.microsoft.com/office/drawing/2014/main" id="{6E02E910-DCD7-43A2-9532-191B1495B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>
                <a:solidFill>
                  <a:prstClr val="black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="" xmlns:a16="http://schemas.microsoft.com/office/drawing/2014/main" id="{227335C1-2438-40F8-A641-7C6E29949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95611D-8D7F-274C-80A2-CA2F4F94AF21}" type="datetime1">
              <a:rPr lang="da-DK" smtClean="0">
                <a:solidFill>
                  <a:prstClr val="black"/>
                </a:solidFill>
              </a:rPr>
              <a:pPr/>
              <a:t>26-10-2020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10" name="Kombinationstegning: figur 9">
            <a:extLst>
              <a:ext uri="{FF2B5EF4-FFF2-40B4-BE49-F238E27FC236}">
                <a16:creationId xmlns="" xmlns:a16="http://schemas.microsoft.com/office/drawing/2014/main" id="{1F1CCD4E-84E2-4D96-A863-8E7CBF49BD7E}"/>
              </a:ext>
            </a:extLst>
          </p:cNvPr>
          <p:cNvSpPr/>
          <p:nvPr userDrawn="1"/>
        </p:nvSpPr>
        <p:spPr>
          <a:xfrm>
            <a:off x="9152426" y="1566321"/>
            <a:ext cx="1653666" cy="3714861"/>
          </a:xfrm>
          <a:custGeom>
            <a:avLst/>
            <a:gdLst>
              <a:gd name="connsiteX0" fmla="*/ 886301 w 1235465"/>
              <a:gd name="connsiteY0" fmla="*/ 325949 h 2775398"/>
              <a:gd name="connsiteX1" fmla="*/ 190119 w 1235465"/>
              <a:gd name="connsiteY1" fmla="*/ 6576 h 2775398"/>
              <a:gd name="connsiteX2" fmla="*/ 0 w 1235465"/>
              <a:gd name="connsiteY2" fmla="*/ 4 h 2775398"/>
              <a:gd name="connsiteX3" fmla="*/ 0 w 1235465"/>
              <a:gd name="connsiteY3" fmla="*/ 576552 h 2775398"/>
              <a:gd name="connsiteX4" fmla="*/ 236220 w 1235465"/>
              <a:gd name="connsiteY4" fmla="*/ 604841 h 2775398"/>
              <a:gd name="connsiteX5" fmla="*/ 638365 w 1235465"/>
              <a:gd name="connsiteY5" fmla="*/ 1110238 h 2775398"/>
              <a:gd name="connsiteX6" fmla="*/ 638556 w 1235465"/>
              <a:gd name="connsiteY6" fmla="*/ 1662116 h 2775398"/>
              <a:gd name="connsiteX7" fmla="*/ 234696 w 1235465"/>
              <a:gd name="connsiteY7" fmla="*/ 2170561 h 2775398"/>
              <a:gd name="connsiteX8" fmla="*/ 0 w 1235465"/>
              <a:gd name="connsiteY8" fmla="*/ 2201517 h 2775398"/>
              <a:gd name="connsiteX9" fmla="*/ 0 w 1235465"/>
              <a:gd name="connsiteY9" fmla="*/ 2775398 h 2775398"/>
              <a:gd name="connsiteX10" fmla="*/ 190119 w 1235465"/>
              <a:gd name="connsiteY10" fmla="*/ 2768826 h 2775398"/>
              <a:gd name="connsiteX11" fmla="*/ 885254 w 1235465"/>
              <a:gd name="connsiteY11" fmla="*/ 2448215 h 2775398"/>
              <a:gd name="connsiteX12" fmla="*/ 1223581 w 1235465"/>
              <a:gd name="connsiteY12" fmla="*/ 1697930 h 2775398"/>
              <a:gd name="connsiteX13" fmla="*/ 1223772 w 1235465"/>
              <a:gd name="connsiteY13" fmla="*/ 1080520 h 2775398"/>
              <a:gd name="connsiteX14" fmla="*/ 886301 w 1235465"/>
              <a:gd name="connsiteY14" fmla="*/ 325949 h 277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35465" h="2775398">
                <a:moveTo>
                  <a:pt x="886301" y="325949"/>
                </a:moveTo>
                <a:cubicBezTo>
                  <a:pt x="695134" y="135545"/>
                  <a:pt x="452056" y="23816"/>
                  <a:pt x="190119" y="6576"/>
                </a:cubicBezTo>
                <a:cubicBezTo>
                  <a:pt x="85058" y="-377"/>
                  <a:pt x="0" y="4"/>
                  <a:pt x="0" y="4"/>
                </a:cubicBezTo>
                <a:lnTo>
                  <a:pt x="0" y="576552"/>
                </a:lnTo>
                <a:cubicBezTo>
                  <a:pt x="0" y="576552"/>
                  <a:pt x="157067" y="584458"/>
                  <a:pt x="236220" y="604841"/>
                </a:cubicBezTo>
                <a:cubicBezTo>
                  <a:pt x="454533" y="661229"/>
                  <a:pt x="625887" y="865731"/>
                  <a:pt x="638365" y="1110238"/>
                </a:cubicBezTo>
                <a:cubicBezTo>
                  <a:pt x="652463" y="1387320"/>
                  <a:pt x="653319" y="1419896"/>
                  <a:pt x="638556" y="1662116"/>
                </a:cubicBezTo>
                <a:cubicBezTo>
                  <a:pt x="623506" y="1908147"/>
                  <a:pt x="451866" y="2115221"/>
                  <a:pt x="234696" y="2170561"/>
                </a:cubicBezTo>
                <a:cubicBezTo>
                  <a:pt x="143256" y="2193897"/>
                  <a:pt x="0" y="2201517"/>
                  <a:pt x="0" y="2201517"/>
                </a:cubicBezTo>
                <a:lnTo>
                  <a:pt x="0" y="2775398"/>
                </a:lnTo>
                <a:cubicBezTo>
                  <a:pt x="0" y="2775398"/>
                  <a:pt x="118205" y="2773684"/>
                  <a:pt x="190119" y="2768826"/>
                </a:cubicBezTo>
                <a:cubicBezTo>
                  <a:pt x="453294" y="2750824"/>
                  <a:pt x="694372" y="2639381"/>
                  <a:pt x="885254" y="2448215"/>
                </a:cubicBezTo>
                <a:cubicBezTo>
                  <a:pt x="1086136" y="2247142"/>
                  <a:pt x="1206246" y="1980632"/>
                  <a:pt x="1223581" y="1697930"/>
                </a:cubicBezTo>
                <a:cubicBezTo>
                  <a:pt x="1239869" y="1431706"/>
                  <a:pt x="1238916" y="1378176"/>
                  <a:pt x="1223772" y="1080520"/>
                </a:cubicBezTo>
                <a:cubicBezTo>
                  <a:pt x="1209198" y="796199"/>
                  <a:pt x="1089374" y="528260"/>
                  <a:pt x="886301" y="325949"/>
                </a:cubicBezTo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11" name="Kombinationstegning: figur 10">
            <a:extLst>
              <a:ext uri="{FF2B5EF4-FFF2-40B4-BE49-F238E27FC236}">
                <a16:creationId xmlns="" xmlns:a16="http://schemas.microsoft.com/office/drawing/2014/main" id="{7A84A4AD-C510-44F1-A8D4-AED2EC538EC9}"/>
              </a:ext>
            </a:extLst>
          </p:cNvPr>
          <p:cNvSpPr/>
          <p:nvPr userDrawn="1"/>
        </p:nvSpPr>
        <p:spPr>
          <a:xfrm>
            <a:off x="1394460" y="1566321"/>
            <a:ext cx="1653539" cy="3714862"/>
          </a:xfrm>
          <a:custGeom>
            <a:avLst/>
            <a:gdLst>
              <a:gd name="connsiteX0" fmla="*/ 349069 w 1235370"/>
              <a:gd name="connsiteY0" fmla="*/ 325949 h 2775398"/>
              <a:gd name="connsiteX1" fmla="*/ 1045251 w 1235370"/>
              <a:gd name="connsiteY1" fmla="*/ 6576 h 2775398"/>
              <a:gd name="connsiteX2" fmla="*/ 1235370 w 1235370"/>
              <a:gd name="connsiteY2" fmla="*/ 4 h 2775398"/>
              <a:gd name="connsiteX3" fmla="*/ 1235370 w 1235370"/>
              <a:gd name="connsiteY3" fmla="*/ 576552 h 2775398"/>
              <a:gd name="connsiteX4" fmla="*/ 999150 w 1235370"/>
              <a:gd name="connsiteY4" fmla="*/ 604841 h 2775398"/>
              <a:gd name="connsiteX5" fmla="*/ 597005 w 1235370"/>
              <a:gd name="connsiteY5" fmla="*/ 1110238 h 2775398"/>
              <a:gd name="connsiteX6" fmla="*/ 596814 w 1235370"/>
              <a:gd name="connsiteY6" fmla="*/ 1662116 h 2775398"/>
              <a:gd name="connsiteX7" fmla="*/ 1000674 w 1235370"/>
              <a:gd name="connsiteY7" fmla="*/ 2170561 h 2775398"/>
              <a:gd name="connsiteX8" fmla="*/ 1235370 w 1235370"/>
              <a:gd name="connsiteY8" fmla="*/ 2201517 h 2775398"/>
              <a:gd name="connsiteX9" fmla="*/ 1235370 w 1235370"/>
              <a:gd name="connsiteY9" fmla="*/ 2775398 h 2775398"/>
              <a:gd name="connsiteX10" fmla="*/ 1045251 w 1235370"/>
              <a:gd name="connsiteY10" fmla="*/ 2768826 h 2775398"/>
              <a:gd name="connsiteX11" fmla="*/ 350117 w 1235370"/>
              <a:gd name="connsiteY11" fmla="*/ 2448215 h 2775398"/>
              <a:gd name="connsiteX12" fmla="*/ 11884 w 1235370"/>
              <a:gd name="connsiteY12" fmla="*/ 1697930 h 2775398"/>
              <a:gd name="connsiteX13" fmla="*/ 11694 w 1235370"/>
              <a:gd name="connsiteY13" fmla="*/ 1080520 h 2775398"/>
              <a:gd name="connsiteX14" fmla="*/ 349069 w 1235370"/>
              <a:gd name="connsiteY14" fmla="*/ 325949 h 277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35370" h="2775398">
                <a:moveTo>
                  <a:pt x="349069" y="325949"/>
                </a:moveTo>
                <a:cubicBezTo>
                  <a:pt x="540236" y="135545"/>
                  <a:pt x="783314" y="23816"/>
                  <a:pt x="1045251" y="6576"/>
                </a:cubicBezTo>
                <a:cubicBezTo>
                  <a:pt x="1150312" y="-377"/>
                  <a:pt x="1235370" y="4"/>
                  <a:pt x="1235370" y="4"/>
                </a:cubicBezTo>
                <a:lnTo>
                  <a:pt x="1235370" y="576552"/>
                </a:lnTo>
                <a:cubicBezTo>
                  <a:pt x="1235370" y="576552"/>
                  <a:pt x="1078208" y="584458"/>
                  <a:pt x="999150" y="604841"/>
                </a:cubicBezTo>
                <a:cubicBezTo>
                  <a:pt x="780837" y="661229"/>
                  <a:pt x="609483" y="865731"/>
                  <a:pt x="597005" y="1110238"/>
                </a:cubicBezTo>
                <a:cubicBezTo>
                  <a:pt x="582908" y="1387320"/>
                  <a:pt x="582051" y="1419896"/>
                  <a:pt x="596814" y="1662116"/>
                </a:cubicBezTo>
                <a:cubicBezTo>
                  <a:pt x="611864" y="1908147"/>
                  <a:pt x="783504" y="2115221"/>
                  <a:pt x="1000674" y="2170561"/>
                </a:cubicBezTo>
                <a:cubicBezTo>
                  <a:pt x="1092115" y="2193897"/>
                  <a:pt x="1235370" y="2201517"/>
                  <a:pt x="1235370" y="2201517"/>
                </a:cubicBezTo>
                <a:lnTo>
                  <a:pt x="1235370" y="2775398"/>
                </a:lnTo>
                <a:cubicBezTo>
                  <a:pt x="1235370" y="2775398"/>
                  <a:pt x="1117165" y="2773684"/>
                  <a:pt x="1045251" y="2768826"/>
                </a:cubicBezTo>
                <a:cubicBezTo>
                  <a:pt x="782076" y="2750824"/>
                  <a:pt x="540998" y="2639381"/>
                  <a:pt x="350117" y="2448215"/>
                </a:cubicBezTo>
                <a:cubicBezTo>
                  <a:pt x="149235" y="2247142"/>
                  <a:pt x="29124" y="1980632"/>
                  <a:pt x="11884" y="1697930"/>
                </a:cubicBezTo>
                <a:cubicBezTo>
                  <a:pt x="-4404" y="1431706"/>
                  <a:pt x="-3451" y="1378176"/>
                  <a:pt x="11694" y="1080520"/>
                </a:cubicBezTo>
                <a:cubicBezTo>
                  <a:pt x="26172" y="796199"/>
                  <a:pt x="145996" y="528260"/>
                  <a:pt x="349069" y="325949"/>
                </a:cubicBezTo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a-DK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00683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skrift med brødteks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FF0DEB4D-63B8-4D15-A3BE-38A01EE11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3688"/>
            <a:ext cx="4943401" cy="10152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="" xmlns:a16="http://schemas.microsoft.com/office/drawing/2014/main" id="{BE277F3F-4CCE-4367-8F88-7E061B43149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978" y="1920521"/>
            <a:ext cx="4943399" cy="3804004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="" xmlns:a16="http://schemas.microsoft.com/office/drawing/2014/main" id="{84696385-6ED1-49EE-A8E3-8E1AC23F5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6" name="Pladsholder til sidefod 5">
            <a:extLst>
              <a:ext uri="{FF2B5EF4-FFF2-40B4-BE49-F238E27FC236}">
                <a16:creationId xmlns="" xmlns:a16="http://schemas.microsoft.com/office/drawing/2014/main" id="{C9036D23-04CA-458D-80B1-A69800A91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>
                <a:solidFill>
                  <a:prstClr val="black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="" xmlns:a16="http://schemas.microsoft.com/office/drawing/2014/main" id="{A3A655A5-A074-424E-BF36-7AA7DAE60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48F118-3193-334E-8D26-F0C92EC688CE}" type="datetime1">
              <a:rPr lang="da-DK" smtClean="0">
                <a:solidFill>
                  <a:prstClr val="black"/>
                </a:solidFill>
              </a:rPr>
              <a:pPr/>
              <a:t>26-10-2020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15" name="Pladsholder til billede 14">
            <a:extLst>
              <a:ext uri="{FF2B5EF4-FFF2-40B4-BE49-F238E27FC236}">
                <a16:creationId xmlns="" xmlns:a16="http://schemas.microsoft.com/office/drawing/2014/main" id="{BE4CAB73-9E36-4B46-A494-3593F7286EC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3238"/>
          </a:xfrm>
          <a:solidFill>
            <a:schemeClr val="bg2"/>
          </a:solidFill>
        </p:spPr>
        <p:txBody>
          <a:bodyPr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0" name="Pladsholder til tekst 19">
            <a:extLst>
              <a:ext uri="{FF2B5EF4-FFF2-40B4-BE49-F238E27FC236}">
                <a16:creationId xmlns="" xmlns:a16="http://schemas.microsoft.com/office/drawing/2014/main" id="{FDC06E7B-40FD-4A87-B805-4DA0E72962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53400" y="6393180"/>
            <a:ext cx="957600" cy="18351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5797020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Overskrift med brødtekst og tekst på farvet bag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tekst 9">
            <a:extLst>
              <a:ext uri="{FF2B5EF4-FFF2-40B4-BE49-F238E27FC236}">
                <a16:creationId xmlns="" xmlns:a16="http://schemas.microsoft.com/office/drawing/2014/main" id="{FC474519-EC99-4E23-BE58-FE770259EE9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6000" y="0"/>
            <a:ext cx="6096000" cy="6856413"/>
          </a:xfrm>
          <a:solidFill>
            <a:schemeClr val="accent4"/>
          </a:solidFill>
        </p:spPr>
        <p:txBody>
          <a:bodyPr lIns="720000" tIns="2016000" rIns="720000" bIns="1116000"/>
          <a:lstStyle>
            <a:lvl1pPr marL="0" indent="0" algn="ctr">
              <a:lnSpc>
                <a:spcPct val="100000"/>
              </a:lnSpc>
              <a:buFontTx/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>
              <a:defRPr sz="3200">
                <a:solidFill>
                  <a:schemeClr val="bg1"/>
                </a:solidFill>
                <a:latin typeface="+mj-lt"/>
              </a:defRPr>
            </a:lvl2pPr>
            <a:lvl3pPr>
              <a:defRPr sz="3200">
                <a:solidFill>
                  <a:schemeClr val="bg1"/>
                </a:solidFill>
                <a:latin typeface="+mj-lt"/>
              </a:defRPr>
            </a:lvl3pPr>
            <a:lvl4pPr>
              <a:defRPr sz="3200">
                <a:solidFill>
                  <a:schemeClr val="bg1"/>
                </a:solidFill>
                <a:latin typeface="+mj-lt"/>
              </a:defRPr>
            </a:lvl4pPr>
            <a:lvl5pPr>
              <a:defRPr sz="3200">
                <a:solidFill>
                  <a:schemeClr val="bg1"/>
                </a:solidFill>
                <a:latin typeface="+mj-lt"/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FF0DEB4D-63B8-4D15-A3BE-38A01EE11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3688"/>
            <a:ext cx="4943401" cy="10152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="" xmlns:a16="http://schemas.microsoft.com/office/drawing/2014/main" id="{BE277F3F-4CCE-4367-8F88-7E061B43149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978" y="1920521"/>
            <a:ext cx="4943399" cy="3804004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="" xmlns:a16="http://schemas.microsoft.com/office/drawing/2014/main" id="{84696385-6ED1-49EE-A8E3-8E1AC23F5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6" name="Pladsholder til sidefod 5">
            <a:extLst>
              <a:ext uri="{FF2B5EF4-FFF2-40B4-BE49-F238E27FC236}">
                <a16:creationId xmlns="" xmlns:a16="http://schemas.microsoft.com/office/drawing/2014/main" id="{C9036D23-04CA-458D-80B1-A69800A91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>
                <a:solidFill>
                  <a:prstClr val="black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="" xmlns:a16="http://schemas.microsoft.com/office/drawing/2014/main" id="{A3A655A5-A074-424E-BF36-7AA7DAE60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3F8BA-8AC0-45D0-B4D8-FC9957BA6257}" type="datetime1">
              <a:rPr lang="da-DK" smtClean="0">
                <a:solidFill>
                  <a:prstClr val="black"/>
                </a:solidFill>
              </a:rPr>
              <a:pPr/>
              <a:t>26-10-2020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20" name="Pladsholder til tekst 19">
            <a:extLst>
              <a:ext uri="{FF2B5EF4-FFF2-40B4-BE49-F238E27FC236}">
                <a16:creationId xmlns="" xmlns:a16="http://schemas.microsoft.com/office/drawing/2014/main" id="{FDC06E7B-40FD-4A87-B805-4DA0E72962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53400" y="6393180"/>
            <a:ext cx="957600" cy="18351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  <p:sp>
        <p:nvSpPr>
          <p:cNvPr id="11" name="textruta 5">
            <a:extLst>
              <a:ext uri="{FF2B5EF4-FFF2-40B4-BE49-F238E27FC236}">
                <a16:creationId xmlns="" xmlns:a16="http://schemas.microsoft.com/office/drawing/2014/main" id="{9B630641-0141-49B9-87E4-17194C9FC9E8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farve - Højre-klik på det tomme felt. Vælg Formatér baggrund / Massiv udfyldning / og vælg den ønskede farve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7660893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CDF246-3A21-4EE2-ACF6-56C0200E008B}" type="datetimeFigureOut">
              <a:rPr lang="da-DK" smtClean="0"/>
              <a:t>26-10-2020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9A41D-7102-4A03-B33F-93E7F5EC502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133647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verskrift med brødtekst og tekst på farvet bag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="" xmlns:a16="http://schemas.microsoft.com/office/drawing/2014/main" id="{F49EDD09-3913-0D45-8ACF-F59B2DA4F875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 err="1">
              <a:solidFill>
                <a:prstClr val="white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FF0DEB4D-63B8-4D15-A3BE-38A01EE11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3688"/>
            <a:ext cx="4943401" cy="10152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="" xmlns:a16="http://schemas.microsoft.com/office/drawing/2014/main" id="{BE277F3F-4CCE-4367-8F88-7E061B43149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978" y="1920521"/>
            <a:ext cx="4943399" cy="3804004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="" xmlns:a16="http://schemas.microsoft.com/office/drawing/2014/main" id="{84696385-6ED1-49EE-A8E3-8E1AC23F5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6" name="Pladsholder til sidefod 5">
            <a:extLst>
              <a:ext uri="{FF2B5EF4-FFF2-40B4-BE49-F238E27FC236}">
                <a16:creationId xmlns="" xmlns:a16="http://schemas.microsoft.com/office/drawing/2014/main" id="{C9036D23-04CA-458D-80B1-A69800A91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>
                <a:solidFill>
                  <a:prstClr val="black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="" xmlns:a16="http://schemas.microsoft.com/office/drawing/2014/main" id="{A3A655A5-A074-424E-BF36-7AA7DAE60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A9275B-D33C-854A-B47F-88B4B5C92B75}" type="datetime1">
              <a:rPr lang="da-DK" smtClean="0">
                <a:solidFill>
                  <a:prstClr val="black"/>
                </a:solidFill>
              </a:rPr>
              <a:pPr/>
              <a:t>26-10-2020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20" name="Pladsholder til tekst 19">
            <a:extLst>
              <a:ext uri="{FF2B5EF4-FFF2-40B4-BE49-F238E27FC236}">
                <a16:creationId xmlns="" xmlns:a16="http://schemas.microsoft.com/office/drawing/2014/main" id="{FDC06E7B-40FD-4A87-B805-4DA0E72962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53400" y="6393180"/>
            <a:ext cx="957600" cy="18351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  <p:sp>
        <p:nvSpPr>
          <p:cNvPr id="11" name="textruta 5">
            <a:extLst>
              <a:ext uri="{FF2B5EF4-FFF2-40B4-BE49-F238E27FC236}">
                <a16:creationId xmlns="" xmlns:a16="http://schemas.microsoft.com/office/drawing/2014/main" id="{9B630641-0141-49B9-87E4-17194C9FC9E8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farve - Højre-klik på det tomme felt. Vælg Formatér baggrund / Massiv udfyldning / og vælg den ønskede farve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40553656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ødtekst og billede på farvet baggr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dsholder til tekst 20">
            <a:extLst>
              <a:ext uri="{FF2B5EF4-FFF2-40B4-BE49-F238E27FC236}">
                <a16:creationId xmlns="" xmlns:a16="http://schemas.microsoft.com/office/drawing/2014/main" id="{E82AF51A-26E4-4399-85A3-34F3235133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276862" y="700087"/>
            <a:ext cx="2162664" cy="5024437"/>
          </a:xfrm>
        </p:spPr>
        <p:txBody>
          <a:bodyPr/>
          <a:lstStyle>
            <a:lvl1pPr marL="0" indent="0"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9" name="Pladsholder til slidenummer 8">
            <a:extLst>
              <a:ext uri="{FF2B5EF4-FFF2-40B4-BE49-F238E27FC236}">
                <a16:creationId xmlns="" xmlns:a16="http://schemas.microsoft.com/office/drawing/2014/main" id="{816BE8C4-B108-4998-AAED-D146EF976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06F29B-0E9E-4576-AEC9-0657A7532060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8" name="Pladsholder til sidefod 7">
            <a:extLst>
              <a:ext uri="{FF2B5EF4-FFF2-40B4-BE49-F238E27FC236}">
                <a16:creationId xmlns="" xmlns:a16="http://schemas.microsoft.com/office/drawing/2014/main" id="{931D4098-E562-44E4-84D3-C65975571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>
                <a:solidFill>
                  <a:prstClr val="white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white"/>
                </a:solidFill>
              </a:rPr>
              <a:t>Norlys</a:t>
            </a:r>
            <a:r>
              <a:rPr lang="da-DK" dirty="0">
                <a:solidFill>
                  <a:prstClr val="white"/>
                </a:solidFill>
              </a:rPr>
              <a:t> Vækstpulje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="" xmlns:a16="http://schemas.microsoft.com/office/drawing/2014/main" id="{546889D8-9709-4F71-B18A-1D2B2BA4F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88ADD57-5327-704B-BE2B-46BE630F8732}" type="datetime1">
              <a:rPr lang="da-DK" smtClean="0">
                <a:solidFill>
                  <a:prstClr val="white"/>
                </a:solidFill>
              </a:rPr>
              <a:pPr/>
              <a:t>26-10-2020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5" name="Billede 14">
            <a:extLst>
              <a:ext uri="{FF2B5EF4-FFF2-40B4-BE49-F238E27FC236}">
                <a16:creationId xmlns="" xmlns:a16="http://schemas.microsoft.com/office/drawing/2014/main" id="{C9E6F0EE-BC80-4D35-9B52-BF3B285A4E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6" name="Pladsholder til billede 14">
            <a:extLst>
              <a:ext uri="{FF2B5EF4-FFF2-40B4-BE49-F238E27FC236}">
                <a16:creationId xmlns="" xmlns:a16="http://schemas.microsoft.com/office/drawing/2014/main" id="{CA3171E9-7786-4097-8396-D8764F3EA6D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63563" y="763372"/>
            <a:ext cx="8294712" cy="5345328"/>
          </a:xfrm>
          <a:solidFill>
            <a:schemeClr val="bg2"/>
          </a:solidFill>
        </p:spPr>
        <p:txBody>
          <a:bodyPr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3" name="textruta 5">
            <a:extLst>
              <a:ext uri="{FF2B5EF4-FFF2-40B4-BE49-F238E27FC236}">
                <a16:creationId xmlns="" xmlns:a16="http://schemas.microsoft.com/office/drawing/2014/main" id="{A8EA427E-25C5-4617-B4A0-6155CC9C9494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farve - Højre-klik på det tomme felt. Vælg Formatér baggrund / Massiv udfyldning / og vælg den ønskede farve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2507443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ødtekst på farvet baggrund og billede til højr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dsholder til tekst 20">
            <a:extLst>
              <a:ext uri="{FF2B5EF4-FFF2-40B4-BE49-F238E27FC236}">
                <a16:creationId xmlns="" xmlns:a16="http://schemas.microsoft.com/office/drawing/2014/main" id="{E82AF51A-26E4-4399-85A3-34F3235133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2588" y="970247"/>
            <a:ext cx="2760662" cy="4968676"/>
          </a:xfrm>
        </p:spPr>
        <p:txBody>
          <a:bodyPr anchor="b" anchorCtr="0"/>
          <a:lstStyle>
            <a:lvl1pPr marL="0" indent="0"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9" name="Pladsholder til slidenummer 8">
            <a:extLst>
              <a:ext uri="{FF2B5EF4-FFF2-40B4-BE49-F238E27FC236}">
                <a16:creationId xmlns="" xmlns:a16="http://schemas.microsoft.com/office/drawing/2014/main" id="{816BE8C4-B108-4998-AAED-D146EF976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06F29B-0E9E-4576-AEC9-0657A7532060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8" name="Pladsholder til sidefod 7">
            <a:extLst>
              <a:ext uri="{FF2B5EF4-FFF2-40B4-BE49-F238E27FC236}">
                <a16:creationId xmlns="" xmlns:a16="http://schemas.microsoft.com/office/drawing/2014/main" id="{931D4098-E562-44E4-84D3-C65975571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63563" y="6380955"/>
            <a:ext cx="28080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>
                <a:solidFill>
                  <a:prstClr val="white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white"/>
                </a:solidFill>
              </a:rPr>
              <a:t>Norlys</a:t>
            </a:r>
            <a:r>
              <a:rPr lang="da-DK" dirty="0">
                <a:solidFill>
                  <a:prstClr val="white"/>
                </a:solidFill>
              </a:rPr>
              <a:t> Vækstpulje</a:t>
            </a:r>
          </a:p>
        </p:txBody>
      </p:sp>
      <p:sp>
        <p:nvSpPr>
          <p:cNvPr id="16" name="Pladsholder til billede 14">
            <a:extLst>
              <a:ext uri="{FF2B5EF4-FFF2-40B4-BE49-F238E27FC236}">
                <a16:creationId xmlns="" xmlns:a16="http://schemas.microsoft.com/office/drawing/2014/main" id="{CA3171E9-7786-4097-8396-D8764F3EA6D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771900" y="-1"/>
            <a:ext cx="8420100" cy="6857739"/>
          </a:xfrm>
          <a:solidFill>
            <a:schemeClr val="bg2"/>
          </a:solidFill>
        </p:spPr>
        <p:txBody>
          <a:bodyPr/>
          <a:lstStyle>
            <a:lvl1pPr marL="0" indent="0" algn="ctr">
              <a:buFontTx/>
              <a:buNone/>
              <a:defRPr sz="1200"/>
            </a:lvl1pPr>
          </a:lstStyle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3" name="Pladsholder til tekst 19">
            <a:extLst>
              <a:ext uri="{FF2B5EF4-FFF2-40B4-BE49-F238E27FC236}">
                <a16:creationId xmlns="" xmlns:a16="http://schemas.microsoft.com/office/drawing/2014/main" id="{122E0498-319B-49AE-B20A-57E36BCD596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53400" y="6393180"/>
            <a:ext cx="957600" cy="183514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da-DK" dirty="0"/>
              <a:t> </a:t>
            </a:r>
          </a:p>
        </p:txBody>
      </p:sp>
      <p:sp>
        <p:nvSpPr>
          <p:cNvPr id="10" name="textruta 5">
            <a:extLst>
              <a:ext uri="{FF2B5EF4-FFF2-40B4-BE49-F238E27FC236}">
                <a16:creationId xmlns="" xmlns:a16="http://schemas.microsoft.com/office/drawing/2014/main" id="{7AF08785-77FB-488B-869E-8BA1E32970C3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farve - Højre-klik på det tomme felt. Vælg Formatér baggrund / Massiv udfyldning / og vælg den ønskede farve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80581494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ødtekst og bille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dsholder til tekst 20">
            <a:extLst>
              <a:ext uri="{FF2B5EF4-FFF2-40B4-BE49-F238E27FC236}">
                <a16:creationId xmlns="" xmlns:a16="http://schemas.microsoft.com/office/drawing/2014/main" id="{E82AF51A-26E4-4399-85A3-34F3235133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82588" y="970247"/>
            <a:ext cx="2760662" cy="4968676"/>
          </a:xfrm>
        </p:spPr>
        <p:txBody>
          <a:bodyPr anchor="b" anchorCtr="0"/>
          <a:lstStyle>
            <a:lvl1pPr marL="0" indent="0">
              <a:buFontTx/>
              <a:buNone/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9" name="Pladsholder til slidenummer 8">
            <a:extLst>
              <a:ext uri="{FF2B5EF4-FFF2-40B4-BE49-F238E27FC236}">
                <a16:creationId xmlns="" xmlns:a16="http://schemas.microsoft.com/office/drawing/2014/main" id="{816BE8C4-B108-4998-AAED-D146EF976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906F29B-0E9E-4576-AEC9-0657A7532060}" type="slidenum">
              <a:rPr lang="da-DK" smtClean="0">
                <a:solidFill>
                  <a:prstClr val="white"/>
                </a:solidFill>
              </a:rPr>
              <a:pPr/>
              <a:t>‹nr.›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8" name="Pladsholder til sidefod 7">
            <a:extLst>
              <a:ext uri="{FF2B5EF4-FFF2-40B4-BE49-F238E27FC236}">
                <a16:creationId xmlns="" xmlns:a16="http://schemas.microsoft.com/office/drawing/2014/main" id="{931D4098-E562-44E4-84D3-C65975571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63563" y="6380955"/>
            <a:ext cx="2808000" cy="1440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>
                <a:solidFill>
                  <a:prstClr val="white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white"/>
                </a:solidFill>
              </a:rPr>
              <a:t>Norlys</a:t>
            </a:r>
            <a:r>
              <a:rPr lang="da-DK" dirty="0">
                <a:solidFill>
                  <a:prstClr val="white"/>
                </a:solidFill>
              </a:rPr>
              <a:t> Vækstpulje</a:t>
            </a:r>
          </a:p>
        </p:txBody>
      </p:sp>
      <p:pic>
        <p:nvPicPr>
          <p:cNvPr id="17" name="Billede 16">
            <a:extLst>
              <a:ext uri="{FF2B5EF4-FFF2-40B4-BE49-F238E27FC236}">
                <a16:creationId xmlns="" xmlns:a16="http://schemas.microsoft.com/office/drawing/2014/main" id="{4FE08AFF-3D9F-4EC1-BE31-468516AB9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2" name="Pladsholder til dato 1">
            <a:extLst>
              <a:ext uri="{FF2B5EF4-FFF2-40B4-BE49-F238E27FC236}">
                <a16:creationId xmlns="" xmlns:a16="http://schemas.microsoft.com/office/drawing/2014/main" id="{1A83C7E3-A934-4AA7-B565-EEEEDD0AD38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5812399-14F9-1347-B411-A5F354D1E634}" type="datetime1">
              <a:rPr lang="da-DK" smtClean="0">
                <a:solidFill>
                  <a:prstClr val="white"/>
                </a:solidFill>
              </a:rPr>
              <a:pPr/>
              <a:t>26-10-2020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10" name="textruta 5">
            <a:extLst>
              <a:ext uri="{FF2B5EF4-FFF2-40B4-BE49-F238E27FC236}">
                <a16:creationId xmlns="" xmlns:a16="http://schemas.microsoft.com/office/drawing/2014/main" id="{29FC5174-5604-48C5-A913-F9FF0A55EEA5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13054902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2C46B52C-174D-46F0-A8AC-F61E3D98F5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3688"/>
            <a:ext cx="10677546" cy="8048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dato 2">
            <a:extLst>
              <a:ext uri="{FF2B5EF4-FFF2-40B4-BE49-F238E27FC236}">
                <a16:creationId xmlns="" xmlns:a16="http://schemas.microsoft.com/office/drawing/2014/main" id="{A7553447-F285-49AF-9424-1CC9E5F2AD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3113B-781A-7E4E-84F0-1F5FB0A14B24}" type="datetime1">
              <a:rPr lang="da-DK" smtClean="0">
                <a:solidFill>
                  <a:prstClr val="black"/>
                </a:solidFill>
              </a:rPr>
              <a:pPr/>
              <a:t>26-10-2020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4" name="Pladsholder til sidefod 3">
            <a:extLst>
              <a:ext uri="{FF2B5EF4-FFF2-40B4-BE49-F238E27FC236}">
                <a16:creationId xmlns="" xmlns:a16="http://schemas.microsoft.com/office/drawing/2014/main" id="{BF031DB6-49C6-4677-999C-8B7DFB96B4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>
                <a:solidFill>
                  <a:prstClr val="black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="" xmlns:a16="http://schemas.microsoft.com/office/drawing/2014/main" id="{39E7ADE9-D0E7-4EB4-8A75-EA8FBE1E2A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75925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dsholder til dato 5">
            <a:extLst>
              <a:ext uri="{FF2B5EF4-FFF2-40B4-BE49-F238E27FC236}">
                <a16:creationId xmlns="" xmlns:a16="http://schemas.microsoft.com/office/drawing/2014/main" id="{B605C6FC-4547-4F8F-B15E-9C1C5DF00E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6FA30-0B97-ED4C-9863-83C0F14CF177}" type="datetime1">
              <a:rPr lang="da-DK" smtClean="0">
                <a:solidFill>
                  <a:prstClr val="black"/>
                </a:solidFill>
              </a:rPr>
              <a:pPr/>
              <a:t>26-10-2020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7" name="Pladsholder til sidefod 6">
            <a:extLst>
              <a:ext uri="{FF2B5EF4-FFF2-40B4-BE49-F238E27FC236}">
                <a16:creationId xmlns="" xmlns:a16="http://schemas.microsoft.com/office/drawing/2014/main" id="{A90C1B72-8B43-453B-819D-D37FCDD4A8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>
                <a:solidFill>
                  <a:prstClr val="black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</a:t>
            </a:r>
          </a:p>
        </p:txBody>
      </p:sp>
      <p:sp>
        <p:nvSpPr>
          <p:cNvPr id="8" name="Pladsholder til slidenummer 7">
            <a:extLst>
              <a:ext uri="{FF2B5EF4-FFF2-40B4-BE49-F238E27FC236}">
                <a16:creationId xmlns="" xmlns:a16="http://schemas.microsoft.com/office/drawing/2014/main" id="{FF9C6FCE-D39B-44A7-BEBF-F4FA9B6111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42991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eside">
    <p:bg bwMode="auto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lede 10">
            <a:extLst>
              <a:ext uri="{FF2B5EF4-FFF2-40B4-BE49-F238E27FC236}">
                <a16:creationId xmlns="" xmlns:a16="http://schemas.microsoft.com/office/drawing/2014/main" id="{085900CC-2CBA-4239-887D-8168B508FB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2486897" y="2699191"/>
            <a:ext cx="7218206" cy="1383299"/>
          </a:xfrm>
          <a:prstGeom prst="rect">
            <a:avLst/>
          </a:prstGeom>
        </p:spPr>
      </p:pic>
      <p:sp>
        <p:nvSpPr>
          <p:cNvPr id="12" name="textruta 5">
            <a:extLst>
              <a:ext uri="{FF2B5EF4-FFF2-40B4-BE49-F238E27FC236}">
                <a16:creationId xmlns="" xmlns:a16="http://schemas.microsoft.com/office/drawing/2014/main" id="{5F26805E-A452-42A5-A24D-67EF3F8F8339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7743814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g indholdsobjekt hvid 0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8497CAF2-3CF1-468E-8726-B32027955B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3688"/>
            <a:ext cx="10677548" cy="1015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="" xmlns:a16="http://schemas.microsoft.com/office/drawing/2014/main" id="{7D405E1E-7CA2-485A-8BC8-BECF929CCB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979" y="1920520"/>
            <a:ext cx="10677545" cy="3804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="" xmlns:a16="http://schemas.microsoft.com/office/drawing/2014/main" id="{9A56A339-8E9E-4C4B-A63D-2CBE9632E9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="" xmlns:a16="http://schemas.microsoft.com/office/drawing/2014/main" id="{4A74143D-101B-47F6-8ABE-E23DD346D9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>
                <a:solidFill>
                  <a:prstClr val="white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white"/>
                </a:solidFill>
              </a:rPr>
              <a:t>Norlys</a:t>
            </a:r>
            <a:r>
              <a:rPr lang="da-DK" dirty="0">
                <a:solidFill>
                  <a:prstClr val="white"/>
                </a:solidFill>
              </a:rPr>
              <a:t> Vækstpulj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="" xmlns:a16="http://schemas.microsoft.com/office/drawing/2014/main" id="{EEDFA6ED-BB45-453B-882D-8D6E955281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CF5599-3908-9C40-9201-FA3F2DB1BC2D}" type="datetime1">
              <a:rPr lang="da-DK" smtClean="0">
                <a:solidFill>
                  <a:prstClr val="white"/>
                </a:solidFill>
              </a:rPr>
              <a:pPr/>
              <a:t>26-10-2020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4" name="Billede 13">
            <a:extLst>
              <a:ext uri="{FF2B5EF4-FFF2-40B4-BE49-F238E27FC236}">
                <a16:creationId xmlns="" xmlns:a16="http://schemas.microsoft.com/office/drawing/2014/main" id="{9B085B20-3A8E-4DAF-8FF3-C33AA779D76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2" name="textruta 5">
            <a:extLst>
              <a:ext uri="{FF2B5EF4-FFF2-40B4-BE49-F238E27FC236}">
                <a16:creationId xmlns="" xmlns:a16="http://schemas.microsoft.com/office/drawing/2014/main" id="{060BADA4-1670-4643-BEDF-3EC5A23F2E04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8936727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dholdsobjekter hvid 0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FF0DEB4D-63B8-4D15-A3BE-38A01EE11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3688"/>
            <a:ext cx="10677548" cy="10144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="" xmlns:a16="http://schemas.microsoft.com/office/drawing/2014/main" id="{1CEBCBA2-0015-439A-B0D3-B2DB5D567E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1978" y="1920521"/>
            <a:ext cx="5156089" cy="3805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="" xmlns:a16="http://schemas.microsoft.com/office/drawing/2014/main" id="{D6CBB84C-3F5E-45F9-9323-EF2AF41538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3932" y="1920521"/>
            <a:ext cx="5156090" cy="3805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="" xmlns:a16="http://schemas.microsoft.com/office/drawing/2014/main" id="{84696385-6ED1-49EE-A8E3-8E1AC23F5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6" name="Pladsholder til sidefod 5">
            <a:extLst>
              <a:ext uri="{FF2B5EF4-FFF2-40B4-BE49-F238E27FC236}">
                <a16:creationId xmlns="" xmlns:a16="http://schemas.microsoft.com/office/drawing/2014/main" id="{C9036D23-04CA-458D-80B1-A69800A91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>
                <a:solidFill>
                  <a:prstClr val="white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white"/>
                </a:solidFill>
              </a:rPr>
              <a:t>Norlys</a:t>
            </a:r>
            <a:r>
              <a:rPr lang="da-DK" dirty="0">
                <a:solidFill>
                  <a:prstClr val="white"/>
                </a:solidFill>
              </a:rPr>
              <a:t> Vækstpulje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="" xmlns:a16="http://schemas.microsoft.com/office/drawing/2014/main" id="{A3A655A5-A074-424E-BF36-7AA7DAE60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281348-1834-914D-B06A-8B3BCB20ABA4}" type="datetime1">
              <a:rPr lang="da-DK" smtClean="0">
                <a:solidFill>
                  <a:prstClr val="white"/>
                </a:solidFill>
              </a:rPr>
              <a:pPr/>
              <a:t>26-10-2020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3" name="Billede 12">
            <a:extLst>
              <a:ext uri="{FF2B5EF4-FFF2-40B4-BE49-F238E27FC236}">
                <a16:creationId xmlns="" xmlns:a16="http://schemas.microsoft.com/office/drawing/2014/main" id="{F60309F3-C3D2-4D16-A9BC-95DF5E6B2F7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4" name="textruta 5">
            <a:extLst>
              <a:ext uri="{FF2B5EF4-FFF2-40B4-BE49-F238E27FC236}">
                <a16:creationId xmlns="" xmlns:a16="http://schemas.microsoft.com/office/drawing/2014/main" id="{3E0FE0D2-2BFF-4932-BB82-0105A55A6305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00830919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og diagram 0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ktangel 20">
            <a:extLst>
              <a:ext uri="{FF2B5EF4-FFF2-40B4-BE49-F238E27FC236}">
                <a16:creationId xmlns="" xmlns:a16="http://schemas.microsoft.com/office/drawing/2014/main" id="{39A30C41-8AAA-41E5-86F8-5E7D67B447C5}"/>
              </a:ext>
            </a:extLst>
          </p:cNvPr>
          <p:cNvSpPr/>
          <p:nvPr userDrawn="1"/>
        </p:nvSpPr>
        <p:spPr bwMode="white">
          <a:xfrm>
            <a:off x="0" y="0"/>
            <a:ext cx="6096000" cy="68571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FF0DEB4D-63B8-4D15-A3BE-38A01EE11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3688"/>
            <a:ext cx="4942800" cy="10152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15" name="Pladsholder til tekst 14">
            <a:extLst>
              <a:ext uri="{FF2B5EF4-FFF2-40B4-BE49-F238E27FC236}">
                <a16:creationId xmlns="" xmlns:a16="http://schemas.microsoft.com/office/drawing/2014/main" id="{2E708DBB-7B37-4C05-8E2B-06BB2491A3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977" y="1920521"/>
            <a:ext cx="4942799" cy="380520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="" xmlns:a16="http://schemas.microsoft.com/office/drawing/2014/main" id="{84696385-6ED1-49EE-A8E3-8E1AC23F5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6" name="Pladsholder til sidefod 5">
            <a:extLst>
              <a:ext uri="{FF2B5EF4-FFF2-40B4-BE49-F238E27FC236}">
                <a16:creationId xmlns="" xmlns:a16="http://schemas.microsoft.com/office/drawing/2014/main" id="{C9036D23-04CA-458D-80B1-A69800A91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>
                <a:solidFill>
                  <a:prstClr val="black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="" xmlns:a16="http://schemas.microsoft.com/office/drawing/2014/main" id="{A3A655A5-A074-424E-BF36-7AA7DAE60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9E5CD9-00E2-8241-B13F-691A6A356362}" type="datetime1">
              <a:rPr lang="da-DK" smtClean="0">
                <a:solidFill>
                  <a:prstClr val="black"/>
                </a:solidFill>
              </a:rPr>
              <a:pPr/>
              <a:t>26-10-2020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0" name="Billede 9">
            <a:extLst>
              <a:ext uri="{FF2B5EF4-FFF2-40B4-BE49-F238E27FC236}">
                <a16:creationId xmlns="" xmlns:a16="http://schemas.microsoft.com/office/drawing/2014/main" id="{85BE3803-E58D-49BC-AC4E-6E07526147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7" name="Pladsholder til diagram 16">
            <a:extLst>
              <a:ext uri="{FF2B5EF4-FFF2-40B4-BE49-F238E27FC236}">
                <a16:creationId xmlns="" xmlns:a16="http://schemas.microsoft.com/office/drawing/2014/main" id="{B76E4002-0543-49EA-A51E-34E75F89B517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842989" y="952500"/>
            <a:ext cx="4587033" cy="4766459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da-DK" dirty="0"/>
              <a:t> </a:t>
            </a:r>
          </a:p>
        </p:txBody>
      </p:sp>
      <p:sp>
        <p:nvSpPr>
          <p:cNvPr id="13" name="textruta 5">
            <a:extLst>
              <a:ext uri="{FF2B5EF4-FFF2-40B4-BE49-F238E27FC236}">
                <a16:creationId xmlns="" xmlns:a16="http://schemas.microsoft.com/office/drawing/2014/main" id="{0F904E24-8564-4C97-BFA6-8D682336F232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6603452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CDF246-3A21-4EE2-ACF6-56C0200E008B}" type="datetimeFigureOut">
              <a:rPr lang="da-DK" smtClean="0"/>
              <a:t>26-10-2020</a:t>
            </a:fld>
            <a:endParaRPr lang="da-DK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9A41D-7102-4A03-B33F-93E7F5EC502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054399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nitsoverskrift hvid 0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C0D3768F-D6B3-4787-A77E-A4A77465E1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4975" y="1311203"/>
            <a:ext cx="6242050" cy="1173162"/>
          </a:xfrm>
        </p:spPr>
        <p:txBody>
          <a:bodyPr anchor="t" anchorCtr="0"/>
          <a:lstStyle>
            <a:lvl1pPr algn="ctr">
              <a:defRPr sz="34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="" xmlns:a16="http://schemas.microsoft.com/office/drawing/2014/main" id="{E17E2239-3F0C-48A6-9FE0-FCABBFBD0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974800" y="2655815"/>
            <a:ext cx="6242400" cy="2879724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="" xmlns:a16="http://schemas.microsoft.com/office/drawing/2014/main" id="{6EEF8328-C16E-4177-BBD0-87A0D1EBC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="" xmlns:a16="http://schemas.microsoft.com/office/drawing/2014/main" id="{6E02E910-DCD7-43A2-9532-191B1495B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>
                <a:solidFill>
                  <a:prstClr val="white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white"/>
                </a:solidFill>
              </a:rPr>
              <a:t>Norlys</a:t>
            </a:r>
            <a:r>
              <a:rPr lang="da-DK" dirty="0">
                <a:solidFill>
                  <a:prstClr val="white"/>
                </a:solidFill>
              </a:rPr>
              <a:t> Vækstpulj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="" xmlns:a16="http://schemas.microsoft.com/office/drawing/2014/main" id="{227335C1-2438-40F8-A641-7C6E29949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F5E595-1E59-B440-A41A-9C47803C2EAA}" type="datetime1">
              <a:rPr lang="da-DK" smtClean="0">
                <a:solidFill>
                  <a:prstClr val="white"/>
                </a:solidFill>
              </a:rPr>
              <a:pPr/>
              <a:t>26-10-2020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="" xmlns:a16="http://schemas.microsoft.com/office/drawing/2014/main" id="{D26F2597-BACD-4673-B980-F5DFF6D0AB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3" name="textruta 5">
            <a:extLst>
              <a:ext uri="{FF2B5EF4-FFF2-40B4-BE49-F238E27FC236}">
                <a16:creationId xmlns="" xmlns:a16="http://schemas.microsoft.com/office/drawing/2014/main" id="{641786C0-4F09-4425-88EB-346498DFE3B7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05923205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ligning hvid 0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0FD4DCA0-DD52-400A-B789-E9E60A47B6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3688"/>
            <a:ext cx="10678851" cy="1015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="" xmlns:a16="http://schemas.microsoft.com/office/drawing/2014/main" id="{C1625C9B-9F02-4F0D-9E17-3ADF3620EF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1978" y="1919288"/>
            <a:ext cx="5148000" cy="442912"/>
          </a:xfrm>
          <a:solidFill>
            <a:schemeClr val="accent3"/>
          </a:solidFill>
        </p:spPr>
        <p:txBody>
          <a:bodyPr lIns="180000" rIns="180000" anchor="t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="" xmlns:a16="http://schemas.microsoft.com/office/drawing/2014/main" id="{DD0C71F5-7389-4491-B5C6-5C0AEB15509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92830" y="1919288"/>
            <a:ext cx="5148000" cy="442912"/>
          </a:xfrm>
          <a:solidFill>
            <a:schemeClr val="accent3"/>
          </a:solidFill>
        </p:spPr>
        <p:txBody>
          <a:bodyPr lIns="180000" rIns="180000" anchor="t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="" xmlns:a16="http://schemas.microsoft.com/office/drawing/2014/main" id="{E82AF51A-26E4-4399-85A3-34F3235133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977" y="2600325"/>
            <a:ext cx="5148000" cy="3124200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3" name="Pladsholder til tekst 22">
            <a:extLst>
              <a:ext uri="{FF2B5EF4-FFF2-40B4-BE49-F238E27FC236}">
                <a16:creationId xmlns="" xmlns:a16="http://schemas.microsoft.com/office/drawing/2014/main" id="{0BDFA7B5-F6AD-4F0E-B386-080E7ED69F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92829" y="2600326"/>
            <a:ext cx="5148000" cy="3124200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Pladsholder til slidenummer 8">
            <a:extLst>
              <a:ext uri="{FF2B5EF4-FFF2-40B4-BE49-F238E27FC236}">
                <a16:creationId xmlns="" xmlns:a16="http://schemas.microsoft.com/office/drawing/2014/main" id="{816BE8C4-B108-4998-AAED-D146EF976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8" name="Pladsholder til sidefod 7">
            <a:extLst>
              <a:ext uri="{FF2B5EF4-FFF2-40B4-BE49-F238E27FC236}">
                <a16:creationId xmlns="" xmlns:a16="http://schemas.microsoft.com/office/drawing/2014/main" id="{931D4098-E562-44E4-84D3-C65975571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>
                <a:solidFill>
                  <a:prstClr val="white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white"/>
                </a:solidFill>
              </a:rPr>
              <a:t>Norlys</a:t>
            </a:r>
            <a:r>
              <a:rPr lang="da-DK" dirty="0">
                <a:solidFill>
                  <a:prstClr val="white"/>
                </a:solidFill>
              </a:rPr>
              <a:t> Vækstpulje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="" xmlns:a16="http://schemas.microsoft.com/office/drawing/2014/main" id="{546889D8-9709-4F71-B18A-1D2B2BA4F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8935BA5-4217-2849-BBB1-0FAA8BEB497A}" type="datetime1">
              <a:rPr lang="da-DK" smtClean="0">
                <a:solidFill>
                  <a:prstClr val="white"/>
                </a:solidFill>
              </a:rPr>
              <a:pPr/>
              <a:t>26-10-2020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5" name="Billede 14">
            <a:extLst>
              <a:ext uri="{FF2B5EF4-FFF2-40B4-BE49-F238E27FC236}">
                <a16:creationId xmlns="" xmlns:a16="http://schemas.microsoft.com/office/drawing/2014/main" id="{C9E6F0EE-BC80-4D35-9B52-BF3B285A4E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6" name="textruta 5">
            <a:extLst>
              <a:ext uri="{FF2B5EF4-FFF2-40B4-BE49-F238E27FC236}">
                <a16:creationId xmlns="" xmlns:a16="http://schemas.microsoft.com/office/drawing/2014/main" id="{CCC23F34-40F4-46BB-B4C2-0060E0412415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22139188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delt hvid 0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0FD4DCA0-DD52-400A-B789-E9E60A47B6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3688"/>
            <a:ext cx="10677547" cy="1015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="" xmlns:a16="http://schemas.microsoft.com/office/drawing/2014/main" id="{C1625C9B-9F02-4F0D-9E17-3ADF3620EF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1978" y="1919288"/>
            <a:ext cx="3400448" cy="442912"/>
          </a:xfrm>
          <a:solidFill>
            <a:schemeClr val="accent3"/>
          </a:solidFill>
        </p:spPr>
        <p:txBody>
          <a:bodyPr lIns="180000" rIns="180000" anchor="t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="" xmlns:a16="http://schemas.microsoft.com/office/drawing/2014/main" id="{DD0C71F5-7389-4491-B5C6-5C0AEB15509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97355" y="1919288"/>
            <a:ext cx="3400448" cy="442912"/>
          </a:xfrm>
          <a:solidFill>
            <a:schemeClr val="accent3"/>
          </a:solidFill>
        </p:spPr>
        <p:txBody>
          <a:bodyPr lIns="180000" rIns="180000" anchor="t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3" name="Pladsholder til tekst 4">
            <a:extLst>
              <a:ext uri="{FF2B5EF4-FFF2-40B4-BE49-F238E27FC236}">
                <a16:creationId xmlns="" xmlns:a16="http://schemas.microsoft.com/office/drawing/2014/main" id="{66CEEEDF-9C2D-494F-93E9-5CDED9C980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039077" y="1919288"/>
            <a:ext cx="3400448" cy="442912"/>
          </a:xfrm>
          <a:solidFill>
            <a:schemeClr val="accent3"/>
          </a:solidFill>
        </p:spPr>
        <p:txBody>
          <a:bodyPr lIns="180000" rIns="180000" anchor="t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="" xmlns:a16="http://schemas.microsoft.com/office/drawing/2014/main" id="{E82AF51A-26E4-4399-85A3-34F3235133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977" y="2600325"/>
            <a:ext cx="3400448" cy="3124199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3" name="Pladsholder til tekst 22">
            <a:extLst>
              <a:ext uri="{FF2B5EF4-FFF2-40B4-BE49-F238E27FC236}">
                <a16:creationId xmlns="" xmlns:a16="http://schemas.microsoft.com/office/drawing/2014/main" id="{0BDFA7B5-F6AD-4F0E-B386-080E7ED69F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97354" y="2600326"/>
            <a:ext cx="3400448" cy="3124199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4" name="Pladsholder til tekst 22">
            <a:extLst>
              <a:ext uri="{FF2B5EF4-FFF2-40B4-BE49-F238E27FC236}">
                <a16:creationId xmlns="" xmlns:a16="http://schemas.microsoft.com/office/drawing/2014/main" id="{9F9A14AB-5212-49B5-90C8-2B5D9BA946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39076" y="2600326"/>
            <a:ext cx="3400448" cy="3124199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Pladsholder til slidenummer 8">
            <a:extLst>
              <a:ext uri="{FF2B5EF4-FFF2-40B4-BE49-F238E27FC236}">
                <a16:creationId xmlns="" xmlns:a16="http://schemas.microsoft.com/office/drawing/2014/main" id="{816BE8C4-B108-4998-AAED-D146EF976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8" name="Pladsholder til sidefod 7">
            <a:extLst>
              <a:ext uri="{FF2B5EF4-FFF2-40B4-BE49-F238E27FC236}">
                <a16:creationId xmlns="" xmlns:a16="http://schemas.microsoft.com/office/drawing/2014/main" id="{931D4098-E562-44E4-84D3-C65975571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>
                <a:solidFill>
                  <a:prstClr val="white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white"/>
                </a:solidFill>
              </a:rPr>
              <a:t>Norlys</a:t>
            </a:r>
            <a:r>
              <a:rPr lang="da-DK" dirty="0">
                <a:solidFill>
                  <a:prstClr val="white"/>
                </a:solidFill>
              </a:rPr>
              <a:t> Vækstpulje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="" xmlns:a16="http://schemas.microsoft.com/office/drawing/2014/main" id="{546889D8-9709-4F71-B18A-1D2B2BA4F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CED910B-1668-DE42-B444-47BEF36DAE6C}" type="datetime1">
              <a:rPr lang="da-DK" smtClean="0">
                <a:solidFill>
                  <a:prstClr val="white"/>
                </a:solidFill>
              </a:rPr>
              <a:pPr/>
              <a:t>26-10-2020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8" name="Billede 17">
            <a:extLst>
              <a:ext uri="{FF2B5EF4-FFF2-40B4-BE49-F238E27FC236}">
                <a16:creationId xmlns="" xmlns:a16="http://schemas.microsoft.com/office/drawing/2014/main" id="{DB5193E6-49C3-4848-BF12-12644B1137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6" name="textruta 5">
            <a:extLst>
              <a:ext uri="{FF2B5EF4-FFF2-40B4-BE49-F238E27FC236}">
                <a16:creationId xmlns="" xmlns:a16="http://schemas.microsoft.com/office/drawing/2014/main" id="{47203AF5-DF39-4747-9527-84AC04E5D308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11725376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 tekst hvid 0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>
            <a:extLst>
              <a:ext uri="{FF2B5EF4-FFF2-40B4-BE49-F238E27FC236}">
                <a16:creationId xmlns="" xmlns:a16="http://schemas.microsoft.com/office/drawing/2014/main" id="{8EA1A971-EDF4-40C9-9F8B-A856855DBD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4975" y="1252537"/>
            <a:ext cx="6242050" cy="340155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="" xmlns:a16="http://schemas.microsoft.com/office/drawing/2014/main" id="{E17E2239-3F0C-48A6-9FE0-FCABBFBD0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19275" y="1947863"/>
            <a:ext cx="8553450" cy="3657600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3000"/>
              </a:spcBef>
              <a:buNone/>
              <a:defRPr sz="34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="" xmlns:a16="http://schemas.microsoft.com/office/drawing/2014/main" id="{6EEF8328-C16E-4177-BBD0-87A0D1EBC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="" xmlns:a16="http://schemas.microsoft.com/office/drawing/2014/main" id="{6E02E910-DCD7-43A2-9532-191B1495B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>
                <a:solidFill>
                  <a:prstClr val="white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white"/>
                </a:solidFill>
              </a:rPr>
              <a:t>Norlys</a:t>
            </a:r>
            <a:r>
              <a:rPr lang="da-DK" dirty="0">
                <a:solidFill>
                  <a:prstClr val="white"/>
                </a:solidFill>
              </a:rPr>
              <a:t> Vækstpulj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="" xmlns:a16="http://schemas.microsoft.com/office/drawing/2014/main" id="{227335C1-2438-40F8-A641-7C6E29949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EBAF25-756B-664C-ABDC-1CAE52706B35}" type="datetime1">
              <a:rPr lang="da-DK" smtClean="0">
                <a:solidFill>
                  <a:prstClr val="white"/>
                </a:solidFill>
              </a:rPr>
              <a:pPr/>
              <a:t>26-10-2020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0" name="Billede 9">
            <a:extLst>
              <a:ext uri="{FF2B5EF4-FFF2-40B4-BE49-F238E27FC236}">
                <a16:creationId xmlns="" xmlns:a16="http://schemas.microsoft.com/office/drawing/2014/main" id="{833D7CAB-8A77-4EAB-8311-10FEDAD0A2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3" name="textruta 5">
            <a:extLst>
              <a:ext uri="{FF2B5EF4-FFF2-40B4-BE49-F238E27FC236}">
                <a16:creationId xmlns="" xmlns:a16="http://schemas.microsoft.com/office/drawing/2014/main" id="{A9B4CE4E-8EF0-4598-AFD8-D2AD3AEE4D87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12051532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 tekst ikoner hvid 0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="" xmlns:a16="http://schemas.microsoft.com/office/drawing/2014/main" id="{E17E2239-3F0C-48A6-9FE0-FCABBFBD0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19463" y="1604350"/>
            <a:ext cx="5553075" cy="3657600"/>
          </a:xfrm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3000"/>
              </a:spcBef>
              <a:buNone/>
              <a:defRPr sz="34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="" xmlns:a16="http://schemas.microsoft.com/office/drawing/2014/main" id="{6EEF8328-C16E-4177-BBD0-87A0D1EBC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="" xmlns:a16="http://schemas.microsoft.com/office/drawing/2014/main" id="{6E02E910-DCD7-43A2-9532-191B1495B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>
                <a:solidFill>
                  <a:prstClr val="white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white"/>
                </a:solidFill>
              </a:rPr>
              <a:t>Norlys</a:t>
            </a:r>
            <a:r>
              <a:rPr lang="da-DK" dirty="0">
                <a:solidFill>
                  <a:prstClr val="white"/>
                </a:solidFill>
              </a:rPr>
              <a:t> Vækstpulj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="" xmlns:a16="http://schemas.microsoft.com/office/drawing/2014/main" id="{227335C1-2438-40F8-A641-7C6E29949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4F380D5-70B8-D844-8ABE-CC9DA5D7DD37}" type="datetime1">
              <a:rPr lang="da-DK" smtClean="0">
                <a:solidFill>
                  <a:prstClr val="white"/>
                </a:solidFill>
              </a:rPr>
              <a:pPr/>
              <a:t>26-10-2020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10" name="Kombinationstegning: figur 9">
            <a:extLst>
              <a:ext uri="{FF2B5EF4-FFF2-40B4-BE49-F238E27FC236}">
                <a16:creationId xmlns="" xmlns:a16="http://schemas.microsoft.com/office/drawing/2014/main" id="{1F1CCD4E-84E2-4D96-A863-8E7CBF49BD7E}"/>
              </a:ext>
            </a:extLst>
          </p:cNvPr>
          <p:cNvSpPr/>
          <p:nvPr userDrawn="1"/>
        </p:nvSpPr>
        <p:spPr bwMode="black">
          <a:xfrm>
            <a:off x="9152426" y="1566321"/>
            <a:ext cx="1653666" cy="3714861"/>
          </a:xfrm>
          <a:custGeom>
            <a:avLst/>
            <a:gdLst>
              <a:gd name="connsiteX0" fmla="*/ 886301 w 1235465"/>
              <a:gd name="connsiteY0" fmla="*/ 325949 h 2775398"/>
              <a:gd name="connsiteX1" fmla="*/ 190119 w 1235465"/>
              <a:gd name="connsiteY1" fmla="*/ 6576 h 2775398"/>
              <a:gd name="connsiteX2" fmla="*/ 0 w 1235465"/>
              <a:gd name="connsiteY2" fmla="*/ 4 h 2775398"/>
              <a:gd name="connsiteX3" fmla="*/ 0 w 1235465"/>
              <a:gd name="connsiteY3" fmla="*/ 576552 h 2775398"/>
              <a:gd name="connsiteX4" fmla="*/ 236220 w 1235465"/>
              <a:gd name="connsiteY4" fmla="*/ 604841 h 2775398"/>
              <a:gd name="connsiteX5" fmla="*/ 638365 w 1235465"/>
              <a:gd name="connsiteY5" fmla="*/ 1110238 h 2775398"/>
              <a:gd name="connsiteX6" fmla="*/ 638556 w 1235465"/>
              <a:gd name="connsiteY6" fmla="*/ 1662116 h 2775398"/>
              <a:gd name="connsiteX7" fmla="*/ 234696 w 1235465"/>
              <a:gd name="connsiteY7" fmla="*/ 2170561 h 2775398"/>
              <a:gd name="connsiteX8" fmla="*/ 0 w 1235465"/>
              <a:gd name="connsiteY8" fmla="*/ 2201517 h 2775398"/>
              <a:gd name="connsiteX9" fmla="*/ 0 w 1235465"/>
              <a:gd name="connsiteY9" fmla="*/ 2775398 h 2775398"/>
              <a:gd name="connsiteX10" fmla="*/ 190119 w 1235465"/>
              <a:gd name="connsiteY10" fmla="*/ 2768826 h 2775398"/>
              <a:gd name="connsiteX11" fmla="*/ 885254 w 1235465"/>
              <a:gd name="connsiteY11" fmla="*/ 2448215 h 2775398"/>
              <a:gd name="connsiteX12" fmla="*/ 1223581 w 1235465"/>
              <a:gd name="connsiteY12" fmla="*/ 1697930 h 2775398"/>
              <a:gd name="connsiteX13" fmla="*/ 1223772 w 1235465"/>
              <a:gd name="connsiteY13" fmla="*/ 1080520 h 2775398"/>
              <a:gd name="connsiteX14" fmla="*/ 886301 w 1235465"/>
              <a:gd name="connsiteY14" fmla="*/ 325949 h 277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35465" h="2775398">
                <a:moveTo>
                  <a:pt x="886301" y="325949"/>
                </a:moveTo>
                <a:cubicBezTo>
                  <a:pt x="695134" y="135545"/>
                  <a:pt x="452056" y="23816"/>
                  <a:pt x="190119" y="6576"/>
                </a:cubicBezTo>
                <a:cubicBezTo>
                  <a:pt x="85058" y="-377"/>
                  <a:pt x="0" y="4"/>
                  <a:pt x="0" y="4"/>
                </a:cubicBezTo>
                <a:lnTo>
                  <a:pt x="0" y="576552"/>
                </a:lnTo>
                <a:cubicBezTo>
                  <a:pt x="0" y="576552"/>
                  <a:pt x="157067" y="584458"/>
                  <a:pt x="236220" y="604841"/>
                </a:cubicBezTo>
                <a:cubicBezTo>
                  <a:pt x="454533" y="661229"/>
                  <a:pt x="625887" y="865731"/>
                  <a:pt x="638365" y="1110238"/>
                </a:cubicBezTo>
                <a:cubicBezTo>
                  <a:pt x="652463" y="1387320"/>
                  <a:pt x="653319" y="1419896"/>
                  <a:pt x="638556" y="1662116"/>
                </a:cubicBezTo>
                <a:cubicBezTo>
                  <a:pt x="623506" y="1908147"/>
                  <a:pt x="451866" y="2115221"/>
                  <a:pt x="234696" y="2170561"/>
                </a:cubicBezTo>
                <a:cubicBezTo>
                  <a:pt x="143256" y="2193897"/>
                  <a:pt x="0" y="2201517"/>
                  <a:pt x="0" y="2201517"/>
                </a:cubicBezTo>
                <a:lnTo>
                  <a:pt x="0" y="2775398"/>
                </a:lnTo>
                <a:cubicBezTo>
                  <a:pt x="0" y="2775398"/>
                  <a:pt x="118205" y="2773684"/>
                  <a:pt x="190119" y="2768826"/>
                </a:cubicBezTo>
                <a:cubicBezTo>
                  <a:pt x="453294" y="2750824"/>
                  <a:pt x="694372" y="2639381"/>
                  <a:pt x="885254" y="2448215"/>
                </a:cubicBezTo>
                <a:cubicBezTo>
                  <a:pt x="1086136" y="2247142"/>
                  <a:pt x="1206246" y="1980632"/>
                  <a:pt x="1223581" y="1697930"/>
                </a:cubicBezTo>
                <a:cubicBezTo>
                  <a:pt x="1239869" y="1431706"/>
                  <a:pt x="1238916" y="1378176"/>
                  <a:pt x="1223772" y="1080520"/>
                </a:cubicBezTo>
                <a:cubicBezTo>
                  <a:pt x="1209198" y="796199"/>
                  <a:pt x="1089374" y="528260"/>
                  <a:pt x="886301" y="325949"/>
                </a:cubicBezTo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11" name="Kombinationstegning: figur 10">
            <a:extLst>
              <a:ext uri="{FF2B5EF4-FFF2-40B4-BE49-F238E27FC236}">
                <a16:creationId xmlns="" xmlns:a16="http://schemas.microsoft.com/office/drawing/2014/main" id="{7A84A4AD-C510-44F1-A8D4-AED2EC538EC9}"/>
              </a:ext>
            </a:extLst>
          </p:cNvPr>
          <p:cNvSpPr/>
          <p:nvPr userDrawn="1"/>
        </p:nvSpPr>
        <p:spPr bwMode="black">
          <a:xfrm>
            <a:off x="1394460" y="1566321"/>
            <a:ext cx="1653539" cy="3714862"/>
          </a:xfrm>
          <a:custGeom>
            <a:avLst/>
            <a:gdLst>
              <a:gd name="connsiteX0" fmla="*/ 349069 w 1235370"/>
              <a:gd name="connsiteY0" fmla="*/ 325949 h 2775398"/>
              <a:gd name="connsiteX1" fmla="*/ 1045251 w 1235370"/>
              <a:gd name="connsiteY1" fmla="*/ 6576 h 2775398"/>
              <a:gd name="connsiteX2" fmla="*/ 1235370 w 1235370"/>
              <a:gd name="connsiteY2" fmla="*/ 4 h 2775398"/>
              <a:gd name="connsiteX3" fmla="*/ 1235370 w 1235370"/>
              <a:gd name="connsiteY3" fmla="*/ 576552 h 2775398"/>
              <a:gd name="connsiteX4" fmla="*/ 999150 w 1235370"/>
              <a:gd name="connsiteY4" fmla="*/ 604841 h 2775398"/>
              <a:gd name="connsiteX5" fmla="*/ 597005 w 1235370"/>
              <a:gd name="connsiteY5" fmla="*/ 1110238 h 2775398"/>
              <a:gd name="connsiteX6" fmla="*/ 596814 w 1235370"/>
              <a:gd name="connsiteY6" fmla="*/ 1662116 h 2775398"/>
              <a:gd name="connsiteX7" fmla="*/ 1000674 w 1235370"/>
              <a:gd name="connsiteY7" fmla="*/ 2170561 h 2775398"/>
              <a:gd name="connsiteX8" fmla="*/ 1235370 w 1235370"/>
              <a:gd name="connsiteY8" fmla="*/ 2201517 h 2775398"/>
              <a:gd name="connsiteX9" fmla="*/ 1235370 w 1235370"/>
              <a:gd name="connsiteY9" fmla="*/ 2775398 h 2775398"/>
              <a:gd name="connsiteX10" fmla="*/ 1045251 w 1235370"/>
              <a:gd name="connsiteY10" fmla="*/ 2768826 h 2775398"/>
              <a:gd name="connsiteX11" fmla="*/ 350117 w 1235370"/>
              <a:gd name="connsiteY11" fmla="*/ 2448215 h 2775398"/>
              <a:gd name="connsiteX12" fmla="*/ 11884 w 1235370"/>
              <a:gd name="connsiteY12" fmla="*/ 1697930 h 2775398"/>
              <a:gd name="connsiteX13" fmla="*/ 11694 w 1235370"/>
              <a:gd name="connsiteY13" fmla="*/ 1080520 h 2775398"/>
              <a:gd name="connsiteX14" fmla="*/ 349069 w 1235370"/>
              <a:gd name="connsiteY14" fmla="*/ 325949 h 277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35370" h="2775398">
                <a:moveTo>
                  <a:pt x="349069" y="325949"/>
                </a:moveTo>
                <a:cubicBezTo>
                  <a:pt x="540236" y="135545"/>
                  <a:pt x="783314" y="23816"/>
                  <a:pt x="1045251" y="6576"/>
                </a:cubicBezTo>
                <a:cubicBezTo>
                  <a:pt x="1150312" y="-377"/>
                  <a:pt x="1235370" y="4"/>
                  <a:pt x="1235370" y="4"/>
                </a:cubicBezTo>
                <a:lnTo>
                  <a:pt x="1235370" y="576552"/>
                </a:lnTo>
                <a:cubicBezTo>
                  <a:pt x="1235370" y="576552"/>
                  <a:pt x="1078208" y="584458"/>
                  <a:pt x="999150" y="604841"/>
                </a:cubicBezTo>
                <a:cubicBezTo>
                  <a:pt x="780837" y="661229"/>
                  <a:pt x="609483" y="865731"/>
                  <a:pt x="597005" y="1110238"/>
                </a:cubicBezTo>
                <a:cubicBezTo>
                  <a:pt x="582908" y="1387320"/>
                  <a:pt x="582051" y="1419896"/>
                  <a:pt x="596814" y="1662116"/>
                </a:cubicBezTo>
                <a:cubicBezTo>
                  <a:pt x="611864" y="1908147"/>
                  <a:pt x="783504" y="2115221"/>
                  <a:pt x="1000674" y="2170561"/>
                </a:cubicBezTo>
                <a:cubicBezTo>
                  <a:pt x="1092115" y="2193897"/>
                  <a:pt x="1235370" y="2201517"/>
                  <a:pt x="1235370" y="2201517"/>
                </a:cubicBezTo>
                <a:lnTo>
                  <a:pt x="1235370" y="2775398"/>
                </a:lnTo>
                <a:cubicBezTo>
                  <a:pt x="1235370" y="2775398"/>
                  <a:pt x="1117165" y="2773684"/>
                  <a:pt x="1045251" y="2768826"/>
                </a:cubicBezTo>
                <a:cubicBezTo>
                  <a:pt x="782076" y="2750824"/>
                  <a:pt x="540998" y="2639381"/>
                  <a:pt x="350117" y="2448215"/>
                </a:cubicBezTo>
                <a:cubicBezTo>
                  <a:pt x="149235" y="2247142"/>
                  <a:pt x="29124" y="1980632"/>
                  <a:pt x="11884" y="1697930"/>
                </a:cubicBezTo>
                <a:cubicBezTo>
                  <a:pt x="-4404" y="1431706"/>
                  <a:pt x="-3451" y="1378176"/>
                  <a:pt x="11694" y="1080520"/>
                </a:cubicBezTo>
                <a:cubicBezTo>
                  <a:pt x="26172" y="796199"/>
                  <a:pt x="145996" y="528260"/>
                  <a:pt x="349069" y="325949"/>
                </a:cubicBezTo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4" name="Billede 13">
            <a:extLst>
              <a:ext uri="{FF2B5EF4-FFF2-40B4-BE49-F238E27FC236}">
                <a16:creationId xmlns="" xmlns:a16="http://schemas.microsoft.com/office/drawing/2014/main" id="{A62B4F67-DD74-4256-9C5D-11B888D24D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5" name="textruta 5">
            <a:extLst>
              <a:ext uri="{FF2B5EF4-FFF2-40B4-BE49-F238E27FC236}">
                <a16:creationId xmlns="" xmlns:a16="http://schemas.microsoft.com/office/drawing/2014/main" id="{65034F1C-1AA3-4AE4-9221-8D527A8DD2CE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67183390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 tekst ikoner hvid animationer 0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="" xmlns:a16="http://schemas.microsoft.com/office/drawing/2014/main" id="{E17E2239-3F0C-48A6-9FE0-FCABBFBD0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19463" y="1604350"/>
            <a:ext cx="5553075" cy="3657600"/>
          </a:xfrm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3000"/>
              </a:spcBef>
              <a:buNone/>
              <a:defRPr sz="34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="" xmlns:a16="http://schemas.microsoft.com/office/drawing/2014/main" id="{6EEF8328-C16E-4177-BBD0-87A0D1EBC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="" xmlns:a16="http://schemas.microsoft.com/office/drawing/2014/main" id="{6E02E910-DCD7-43A2-9532-191B1495B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>
                <a:solidFill>
                  <a:prstClr val="white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white"/>
                </a:solidFill>
              </a:rPr>
              <a:t>Norlys</a:t>
            </a:r>
            <a:r>
              <a:rPr lang="da-DK" dirty="0">
                <a:solidFill>
                  <a:prstClr val="white"/>
                </a:solidFill>
              </a:rPr>
              <a:t> Vækstpulj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="" xmlns:a16="http://schemas.microsoft.com/office/drawing/2014/main" id="{227335C1-2438-40F8-A641-7C6E29949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8388796-79E8-7F4B-852C-C0FC0B9FBDA7}" type="datetime1">
              <a:rPr lang="da-DK" smtClean="0">
                <a:solidFill>
                  <a:prstClr val="white"/>
                </a:solidFill>
              </a:rPr>
              <a:pPr/>
              <a:t>26-10-2020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4" name="Billede 13">
            <a:extLst>
              <a:ext uri="{FF2B5EF4-FFF2-40B4-BE49-F238E27FC236}">
                <a16:creationId xmlns="" xmlns:a16="http://schemas.microsoft.com/office/drawing/2014/main" id="{A62B4F67-DD74-4256-9C5D-11B888D24D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0" name="textruta 5">
            <a:extLst>
              <a:ext uri="{FF2B5EF4-FFF2-40B4-BE49-F238E27FC236}">
                <a16:creationId xmlns="" xmlns:a16="http://schemas.microsoft.com/office/drawing/2014/main" id="{A0F747F9-E8C9-4BE2-BE7C-2C0EC65B8975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02095045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ks bokse 0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FF0DEB4D-63B8-4D15-A3BE-38A01EE11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3688"/>
            <a:ext cx="10677548" cy="1015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="" xmlns:a16="http://schemas.microsoft.com/office/drawing/2014/main" id="{84696385-6ED1-49EE-A8E3-8E1AC23F5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6" name="Pladsholder til sidefod 5">
            <a:extLst>
              <a:ext uri="{FF2B5EF4-FFF2-40B4-BE49-F238E27FC236}">
                <a16:creationId xmlns="" xmlns:a16="http://schemas.microsoft.com/office/drawing/2014/main" id="{C9036D23-04CA-458D-80B1-A69800A91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>
                <a:solidFill>
                  <a:prstClr val="white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white"/>
                </a:solidFill>
              </a:rPr>
              <a:t>Norlys</a:t>
            </a:r>
            <a:r>
              <a:rPr lang="da-DK" dirty="0">
                <a:solidFill>
                  <a:prstClr val="white"/>
                </a:solidFill>
              </a:rPr>
              <a:t> Vækstpulje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="" xmlns:a16="http://schemas.microsoft.com/office/drawing/2014/main" id="{A3A655A5-A074-424E-BF36-7AA7DAE60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4E3B85F-2833-B544-BD2D-F350C37FEB25}" type="datetime1">
              <a:rPr lang="da-DK" smtClean="0">
                <a:solidFill>
                  <a:prstClr val="white"/>
                </a:solidFill>
              </a:rPr>
              <a:pPr/>
              <a:t>26-10-2020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2" name="Billede 11">
            <a:extLst>
              <a:ext uri="{FF2B5EF4-FFF2-40B4-BE49-F238E27FC236}">
                <a16:creationId xmlns="" xmlns:a16="http://schemas.microsoft.com/office/drawing/2014/main" id="{6118B655-B59F-4BE3-A116-ADC204EB49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4" name="Pladsholder til tekst 13">
            <a:extLst>
              <a:ext uri="{FF2B5EF4-FFF2-40B4-BE49-F238E27FC236}">
                <a16:creationId xmlns="" xmlns:a16="http://schemas.microsoft.com/office/drawing/2014/main" id="{EC16370D-1B4C-4104-9E74-60B9DC6CD9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47253" y="1920875"/>
            <a:ext cx="2586038" cy="1624806"/>
          </a:xfrm>
          <a:solidFill>
            <a:schemeClr val="accent4"/>
          </a:solidFill>
        </p:spPr>
        <p:txBody>
          <a:bodyPr lIns="180000" tIns="540000" rIns="180000" bIns="180000"/>
          <a:lstStyle>
            <a:lvl1pPr marL="0" indent="0" algn="ctr">
              <a:buFontTx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#</a:t>
            </a:r>
          </a:p>
        </p:txBody>
      </p:sp>
      <p:sp>
        <p:nvSpPr>
          <p:cNvPr id="17" name="Pladsholder til tekst 16">
            <a:extLst>
              <a:ext uri="{FF2B5EF4-FFF2-40B4-BE49-F238E27FC236}">
                <a16:creationId xmlns="" xmlns:a16="http://schemas.microsoft.com/office/drawing/2014/main" id="{C23F908A-5786-4570-9F33-1ECA00910C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white">
          <a:xfrm>
            <a:off x="2530621" y="2276475"/>
            <a:ext cx="2021681" cy="157163"/>
          </a:xfrm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2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2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0" name="Pladsholder til tekst 13">
            <a:extLst>
              <a:ext uri="{FF2B5EF4-FFF2-40B4-BE49-F238E27FC236}">
                <a16:creationId xmlns="" xmlns:a16="http://schemas.microsoft.com/office/drawing/2014/main" id="{1F5A73FA-99B4-4297-BCC9-8F7D9C7B434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85377" y="1920875"/>
            <a:ext cx="2586038" cy="1624806"/>
          </a:xfrm>
          <a:solidFill>
            <a:schemeClr val="accent2"/>
          </a:solidFill>
        </p:spPr>
        <p:txBody>
          <a:bodyPr lIns="180000" tIns="540000" rIns="180000" bIns="180000"/>
          <a:lstStyle>
            <a:lvl1pPr marL="0" indent="0" algn="ctr">
              <a:buFontTx/>
              <a:buNone/>
              <a:defRPr sz="4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#</a:t>
            </a:r>
          </a:p>
        </p:txBody>
      </p:sp>
      <p:sp>
        <p:nvSpPr>
          <p:cNvPr id="21" name="Pladsholder til tekst 16">
            <a:extLst>
              <a:ext uri="{FF2B5EF4-FFF2-40B4-BE49-F238E27FC236}">
                <a16:creationId xmlns="" xmlns:a16="http://schemas.microsoft.com/office/drawing/2014/main" id="{0E3661CC-F435-451F-BF23-ACE413C4A88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68745" y="2276475"/>
            <a:ext cx="2021681" cy="157163"/>
          </a:xfrm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2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2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2" name="Pladsholder til tekst 13">
            <a:extLst>
              <a:ext uri="{FF2B5EF4-FFF2-40B4-BE49-F238E27FC236}">
                <a16:creationId xmlns="" xmlns:a16="http://schemas.microsoft.com/office/drawing/2014/main" id="{6F3E7357-DED3-426A-9448-8E0F18D3408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22854" y="1920875"/>
            <a:ext cx="2586038" cy="1624806"/>
          </a:xfrm>
          <a:solidFill>
            <a:schemeClr val="accent3"/>
          </a:solidFill>
        </p:spPr>
        <p:txBody>
          <a:bodyPr lIns="180000" tIns="540000" rIns="180000" bIns="180000"/>
          <a:lstStyle>
            <a:lvl1pPr marL="0" indent="0" algn="ctr">
              <a:buFontTx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#</a:t>
            </a:r>
          </a:p>
        </p:txBody>
      </p:sp>
      <p:sp>
        <p:nvSpPr>
          <p:cNvPr id="23" name="Pladsholder til tekst 16">
            <a:extLst>
              <a:ext uri="{FF2B5EF4-FFF2-40B4-BE49-F238E27FC236}">
                <a16:creationId xmlns="" xmlns:a16="http://schemas.microsoft.com/office/drawing/2014/main" id="{EC6CB6CA-B795-4342-BCF0-9C41CF0F11E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white">
          <a:xfrm>
            <a:off x="8006222" y="2276475"/>
            <a:ext cx="2021681" cy="157163"/>
          </a:xfrm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2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2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tekst 13">
            <a:extLst>
              <a:ext uri="{FF2B5EF4-FFF2-40B4-BE49-F238E27FC236}">
                <a16:creationId xmlns="" xmlns:a16="http://schemas.microsoft.com/office/drawing/2014/main" id="{1542EED7-4B08-49CD-94E0-BBFAE1CE099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47253" y="3728244"/>
            <a:ext cx="2586038" cy="1624806"/>
          </a:xfrm>
          <a:solidFill>
            <a:schemeClr val="bg1"/>
          </a:solidFill>
        </p:spPr>
        <p:txBody>
          <a:bodyPr lIns="180000" tIns="540000" rIns="180000" bIns="180000"/>
          <a:lstStyle>
            <a:lvl1pPr marL="0" indent="0" algn="ctr">
              <a:buFontTx/>
              <a:buNone/>
              <a:defRPr sz="4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#</a:t>
            </a:r>
          </a:p>
        </p:txBody>
      </p:sp>
      <p:sp>
        <p:nvSpPr>
          <p:cNvPr id="25" name="Pladsholder til tekst 16">
            <a:extLst>
              <a:ext uri="{FF2B5EF4-FFF2-40B4-BE49-F238E27FC236}">
                <a16:creationId xmlns="" xmlns:a16="http://schemas.microsoft.com/office/drawing/2014/main" id="{98B9CE39-02C9-4D3C-B5EF-4C05B007465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30621" y="4083844"/>
            <a:ext cx="2021681" cy="157163"/>
          </a:xfrm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2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2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Pladsholder til tekst 13">
            <a:extLst>
              <a:ext uri="{FF2B5EF4-FFF2-40B4-BE49-F238E27FC236}">
                <a16:creationId xmlns="" xmlns:a16="http://schemas.microsoft.com/office/drawing/2014/main" id="{2959FBF2-C16D-4DF4-AB91-8770B7608A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85377" y="3728244"/>
            <a:ext cx="2586038" cy="1624806"/>
          </a:xfrm>
          <a:solidFill>
            <a:schemeClr val="accent6"/>
          </a:solidFill>
        </p:spPr>
        <p:txBody>
          <a:bodyPr lIns="180000" tIns="540000" rIns="180000" bIns="180000"/>
          <a:lstStyle>
            <a:lvl1pPr marL="0" indent="0" algn="ctr">
              <a:buFontTx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#</a:t>
            </a:r>
          </a:p>
        </p:txBody>
      </p:sp>
      <p:sp>
        <p:nvSpPr>
          <p:cNvPr id="27" name="Pladsholder til tekst 16">
            <a:extLst>
              <a:ext uri="{FF2B5EF4-FFF2-40B4-BE49-F238E27FC236}">
                <a16:creationId xmlns="" xmlns:a16="http://schemas.microsoft.com/office/drawing/2014/main" id="{82AF0D12-2431-477A-87D0-C9CBE8963C0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white">
          <a:xfrm>
            <a:off x="5268745" y="4083844"/>
            <a:ext cx="2021681" cy="157163"/>
          </a:xfrm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2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2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8" name="Pladsholder til tekst 13">
            <a:extLst>
              <a:ext uri="{FF2B5EF4-FFF2-40B4-BE49-F238E27FC236}">
                <a16:creationId xmlns="" xmlns:a16="http://schemas.microsoft.com/office/drawing/2014/main" id="{B231932A-E96F-4264-915F-45E830E297B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22854" y="3728244"/>
            <a:ext cx="2586038" cy="1624806"/>
          </a:xfrm>
          <a:solidFill>
            <a:schemeClr val="accent5"/>
          </a:solidFill>
        </p:spPr>
        <p:txBody>
          <a:bodyPr lIns="180000" tIns="540000" rIns="180000" bIns="180000"/>
          <a:lstStyle>
            <a:lvl1pPr marL="0" indent="0" algn="ctr">
              <a:buFontTx/>
              <a:buNone/>
              <a:defRPr sz="4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#</a:t>
            </a:r>
          </a:p>
        </p:txBody>
      </p:sp>
      <p:sp>
        <p:nvSpPr>
          <p:cNvPr id="29" name="Pladsholder til tekst 16">
            <a:extLst>
              <a:ext uri="{FF2B5EF4-FFF2-40B4-BE49-F238E27FC236}">
                <a16:creationId xmlns="" xmlns:a16="http://schemas.microsoft.com/office/drawing/2014/main" id="{11C30B34-A91B-4364-A2DD-C7504A24AD5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06222" y="4083844"/>
            <a:ext cx="2021681" cy="157163"/>
          </a:xfrm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2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2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31" name="textruta 5">
            <a:extLst>
              <a:ext uri="{FF2B5EF4-FFF2-40B4-BE49-F238E27FC236}">
                <a16:creationId xmlns="" xmlns:a16="http://schemas.microsoft.com/office/drawing/2014/main" id="{0FCF3EAB-21EF-4F5F-B423-19ACDC3B3E4A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45717042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og indholdsobjekt hvid 0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8497CAF2-3CF1-468E-8726-B32027955B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3688"/>
            <a:ext cx="10677548" cy="1015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="" xmlns:a16="http://schemas.microsoft.com/office/drawing/2014/main" id="{7D405E1E-7CA2-485A-8BC8-BECF929CCB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978" y="1920521"/>
            <a:ext cx="10677545" cy="380400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="" xmlns:a16="http://schemas.microsoft.com/office/drawing/2014/main" id="{9A56A339-8E9E-4C4B-A63D-2CBE9632E9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="" xmlns:a16="http://schemas.microsoft.com/office/drawing/2014/main" id="{4A74143D-101B-47F6-8ABE-E23DD346D9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>
                <a:solidFill>
                  <a:prstClr val="white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white"/>
                </a:solidFill>
              </a:rPr>
              <a:t>Norlys</a:t>
            </a:r>
            <a:r>
              <a:rPr lang="da-DK" dirty="0">
                <a:solidFill>
                  <a:prstClr val="white"/>
                </a:solidFill>
              </a:rPr>
              <a:t> Vækstpulj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="" xmlns:a16="http://schemas.microsoft.com/office/drawing/2014/main" id="{EEDFA6ED-BB45-453B-882D-8D6E955281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F2D76AA-35DB-6441-B97B-52E526835636}" type="datetime1">
              <a:rPr lang="da-DK" smtClean="0">
                <a:solidFill>
                  <a:prstClr val="white"/>
                </a:solidFill>
              </a:rPr>
              <a:pPr/>
              <a:t>26-10-2020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4" name="Billede 13">
            <a:extLst>
              <a:ext uri="{FF2B5EF4-FFF2-40B4-BE49-F238E27FC236}">
                <a16:creationId xmlns="" xmlns:a16="http://schemas.microsoft.com/office/drawing/2014/main" id="{9B085B20-3A8E-4DAF-8FF3-C33AA779D76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2" name="textruta 5">
            <a:extLst>
              <a:ext uri="{FF2B5EF4-FFF2-40B4-BE49-F238E27FC236}">
                <a16:creationId xmlns="" xmlns:a16="http://schemas.microsoft.com/office/drawing/2014/main" id="{060BADA4-1670-4643-BEDF-3EC5A23F2E04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40241844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dholdsobjekter hvid 0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FF0DEB4D-63B8-4D15-A3BE-38A01EE11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3688"/>
            <a:ext cx="10677548" cy="10144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indhold 2">
            <a:extLst>
              <a:ext uri="{FF2B5EF4-FFF2-40B4-BE49-F238E27FC236}">
                <a16:creationId xmlns="" xmlns:a16="http://schemas.microsoft.com/office/drawing/2014/main" id="{1CEBCBA2-0015-439A-B0D3-B2DB5D567E4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61978" y="1920521"/>
            <a:ext cx="5156089" cy="3805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>
            <a:extLst>
              <a:ext uri="{FF2B5EF4-FFF2-40B4-BE49-F238E27FC236}">
                <a16:creationId xmlns="" xmlns:a16="http://schemas.microsoft.com/office/drawing/2014/main" id="{D6CBB84C-3F5E-45F9-9323-EF2AF41538B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3932" y="1920521"/>
            <a:ext cx="5156090" cy="3805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="" xmlns:a16="http://schemas.microsoft.com/office/drawing/2014/main" id="{84696385-6ED1-49EE-A8E3-8E1AC23F5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6" name="Pladsholder til sidefod 5">
            <a:extLst>
              <a:ext uri="{FF2B5EF4-FFF2-40B4-BE49-F238E27FC236}">
                <a16:creationId xmlns="" xmlns:a16="http://schemas.microsoft.com/office/drawing/2014/main" id="{C9036D23-04CA-458D-80B1-A69800A91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>
                <a:solidFill>
                  <a:prstClr val="white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white"/>
                </a:solidFill>
              </a:rPr>
              <a:t>Norlys</a:t>
            </a:r>
            <a:r>
              <a:rPr lang="da-DK" dirty="0">
                <a:solidFill>
                  <a:prstClr val="white"/>
                </a:solidFill>
              </a:rPr>
              <a:t> Vækstpulje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="" xmlns:a16="http://schemas.microsoft.com/office/drawing/2014/main" id="{A3A655A5-A074-424E-BF36-7AA7DAE60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4465AF-1529-474F-A98A-56C91330DFE2}" type="datetime1">
              <a:rPr lang="da-DK" smtClean="0">
                <a:solidFill>
                  <a:prstClr val="white"/>
                </a:solidFill>
              </a:rPr>
              <a:pPr/>
              <a:t>26-10-2020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3" name="Billede 12">
            <a:extLst>
              <a:ext uri="{FF2B5EF4-FFF2-40B4-BE49-F238E27FC236}">
                <a16:creationId xmlns="" xmlns:a16="http://schemas.microsoft.com/office/drawing/2014/main" id="{F60309F3-C3D2-4D16-A9BC-95DF5E6B2F7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4" name="textruta 5">
            <a:extLst>
              <a:ext uri="{FF2B5EF4-FFF2-40B4-BE49-F238E27FC236}">
                <a16:creationId xmlns="" xmlns:a16="http://schemas.microsoft.com/office/drawing/2014/main" id="{3E0FE0D2-2BFF-4932-BB82-0105A55A6305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47937965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kst og diagram 0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ktangel 20">
            <a:extLst>
              <a:ext uri="{FF2B5EF4-FFF2-40B4-BE49-F238E27FC236}">
                <a16:creationId xmlns="" xmlns:a16="http://schemas.microsoft.com/office/drawing/2014/main" id="{39A30C41-8AAA-41E5-86F8-5E7D67B447C5}"/>
              </a:ext>
            </a:extLst>
          </p:cNvPr>
          <p:cNvSpPr/>
          <p:nvPr userDrawn="1"/>
        </p:nvSpPr>
        <p:spPr bwMode="white">
          <a:xfrm>
            <a:off x="0" y="0"/>
            <a:ext cx="6096000" cy="68571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FF0DEB4D-63B8-4D15-A3BE-38A01EE11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3688"/>
            <a:ext cx="4942800" cy="1015200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15" name="Pladsholder til tekst 14">
            <a:extLst>
              <a:ext uri="{FF2B5EF4-FFF2-40B4-BE49-F238E27FC236}">
                <a16:creationId xmlns="" xmlns:a16="http://schemas.microsoft.com/office/drawing/2014/main" id="{2E708DBB-7B37-4C05-8E2B-06BB2491A3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977" y="1920521"/>
            <a:ext cx="4942799" cy="3805200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="" xmlns:a16="http://schemas.microsoft.com/office/drawing/2014/main" id="{84696385-6ED1-49EE-A8E3-8E1AC23F5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6" name="Pladsholder til sidefod 5">
            <a:extLst>
              <a:ext uri="{FF2B5EF4-FFF2-40B4-BE49-F238E27FC236}">
                <a16:creationId xmlns="" xmlns:a16="http://schemas.microsoft.com/office/drawing/2014/main" id="{C9036D23-04CA-458D-80B1-A69800A91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>
                <a:solidFill>
                  <a:prstClr val="black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="" xmlns:a16="http://schemas.microsoft.com/office/drawing/2014/main" id="{A3A655A5-A074-424E-BF36-7AA7DAE60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08B257-B589-754A-B5BC-8C068A794BBC}" type="datetime1">
              <a:rPr lang="da-DK" smtClean="0">
                <a:solidFill>
                  <a:prstClr val="black"/>
                </a:solidFill>
              </a:rPr>
              <a:pPr/>
              <a:t>26-10-2020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0" name="Billede 9">
            <a:extLst>
              <a:ext uri="{FF2B5EF4-FFF2-40B4-BE49-F238E27FC236}">
                <a16:creationId xmlns="" xmlns:a16="http://schemas.microsoft.com/office/drawing/2014/main" id="{85BE3803-E58D-49BC-AC4E-6E07526147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7" name="Pladsholder til diagram 16">
            <a:extLst>
              <a:ext uri="{FF2B5EF4-FFF2-40B4-BE49-F238E27FC236}">
                <a16:creationId xmlns="" xmlns:a16="http://schemas.microsoft.com/office/drawing/2014/main" id="{B76E4002-0543-49EA-A51E-34E75F89B517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6842989" y="952500"/>
            <a:ext cx="4587033" cy="4766459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r>
              <a:rPr lang="da-DK" dirty="0"/>
              <a:t> </a:t>
            </a:r>
          </a:p>
        </p:txBody>
      </p:sp>
      <p:sp>
        <p:nvSpPr>
          <p:cNvPr id="13" name="textruta 5">
            <a:extLst>
              <a:ext uri="{FF2B5EF4-FFF2-40B4-BE49-F238E27FC236}">
                <a16:creationId xmlns="" xmlns:a16="http://schemas.microsoft.com/office/drawing/2014/main" id="{0F904E24-8564-4C97-BFA6-8D682336F232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6948675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CDF246-3A21-4EE2-ACF6-56C0200E008B}" type="datetimeFigureOut">
              <a:rPr lang="da-DK" smtClean="0"/>
              <a:t>26-10-2020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9A41D-7102-4A03-B33F-93E7F5EC502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3010432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nitsoverskrift hvid 0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C0D3768F-D6B3-4787-A77E-A4A77465E1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4975" y="1311203"/>
            <a:ext cx="6242050" cy="1173162"/>
          </a:xfrm>
        </p:spPr>
        <p:txBody>
          <a:bodyPr anchor="t" anchorCtr="0"/>
          <a:lstStyle>
            <a:lvl1pPr algn="ctr">
              <a:defRPr sz="34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="" xmlns:a16="http://schemas.microsoft.com/office/drawing/2014/main" id="{E17E2239-3F0C-48A6-9FE0-FCABBFBD0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974800" y="2655815"/>
            <a:ext cx="6242400" cy="2879724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="" xmlns:a16="http://schemas.microsoft.com/office/drawing/2014/main" id="{6EEF8328-C16E-4177-BBD0-87A0D1EBC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="" xmlns:a16="http://schemas.microsoft.com/office/drawing/2014/main" id="{6E02E910-DCD7-43A2-9532-191B1495B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>
                <a:solidFill>
                  <a:prstClr val="white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white"/>
                </a:solidFill>
              </a:rPr>
              <a:t>Norlys</a:t>
            </a:r>
            <a:r>
              <a:rPr lang="da-DK" dirty="0">
                <a:solidFill>
                  <a:prstClr val="white"/>
                </a:solidFill>
              </a:rPr>
              <a:t> Vækstpulj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="" xmlns:a16="http://schemas.microsoft.com/office/drawing/2014/main" id="{227335C1-2438-40F8-A641-7C6E29949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6DF81BD-8FA3-9844-8208-81F31D083124}" type="datetime1">
              <a:rPr lang="da-DK" smtClean="0">
                <a:solidFill>
                  <a:prstClr val="white"/>
                </a:solidFill>
              </a:rPr>
              <a:pPr/>
              <a:t>26-10-2020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="" xmlns:a16="http://schemas.microsoft.com/office/drawing/2014/main" id="{D26F2597-BACD-4673-B980-F5DFF6D0AB1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3" name="textruta 5">
            <a:extLst>
              <a:ext uri="{FF2B5EF4-FFF2-40B4-BE49-F238E27FC236}">
                <a16:creationId xmlns="" xmlns:a16="http://schemas.microsoft.com/office/drawing/2014/main" id="{641786C0-4F09-4425-88EB-346498DFE3B7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22830814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menligning hvid 0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0FD4DCA0-DD52-400A-B789-E9E60A47B6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3688"/>
            <a:ext cx="10677547" cy="1015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="" xmlns:a16="http://schemas.microsoft.com/office/drawing/2014/main" id="{C1625C9B-9F02-4F0D-9E17-3ADF3620EF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1978" y="1919288"/>
            <a:ext cx="5148000" cy="442912"/>
          </a:xfrm>
          <a:solidFill>
            <a:schemeClr val="accent3"/>
          </a:solidFill>
        </p:spPr>
        <p:txBody>
          <a:bodyPr lIns="180000" rIns="180000" anchor="t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="" xmlns:a16="http://schemas.microsoft.com/office/drawing/2014/main" id="{DD0C71F5-7389-4491-B5C6-5C0AEB15509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92830" y="1919288"/>
            <a:ext cx="5148000" cy="442912"/>
          </a:xfrm>
          <a:solidFill>
            <a:schemeClr val="accent3"/>
          </a:solidFill>
        </p:spPr>
        <p:txBody>
          <a:bodyPr lIns="180000" rIns="180000" anchor="t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="" xmlns:a16="http://schemas.microsoft.com/office/drawing/2014/main" id="{E82AF51A-26E4-4399-85A3-34F3235133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977" y="2600325"/>
            <a:ext cx="5148000" cy="3124200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3" name="Pladsholder til tekst 22">
            <a:extLst>
              <a:ext uri="{FF2B5EF4-FFF2-40B4-BE49-F238E27FC236}">
                <a16:creationId xmlns="" xmlns:a16="http://schemas.microsoft.com/office/drawing/2014/main" id="{0BDFA7B5-F6AD-4F0E-B386-080E7ED69F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292829" y="2600326"/>
            <a:ext cx="5148000" cy="3124200"/>
          </a:xfrm>
        </p:spPr>
        <p:txBody>
          <a:bodyPr/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Pladsholder til slidenummer 8">
            <a:extLst>
              <a:ext uri="{FF2B5EF4-FFF2-40B4-BE49-F238E27FC236}">
                <a16:creationId xmlns="" xmlns:a16="http://schemas.microsoft.com/office/drawing/2014/main" id="{816BE8C4-B108-4998-AAED-D146EF976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8" name="Pladsholder til sidefod 7">
            <a:extLst>
              <a:ext uri="{FF2B5EF4-FFF2-40B4-BE49-F238E27FC236}">
                <a16:creationId xmlns="" xmlns:a16="http://schemas.microsoft.com/office/drawing/2014/main" id="{931D4098-E562-44E4-84D3-C65975571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>
                <a:solidFill>
                  <a:prstClr val="white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white"/>
                </a:solidFill>
              </a:rPr>
              <a:t>Norlys</a:t>
            </a:r>
            <a:r>
              <a:rPr lang="da-DK" dirty="0">
                <a:solidFill>
                  <a:prstClr val="white"/>
                </a:solidFill>
              </a:rPr>
              <a:t> Vækstpulje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="" xmlns:a16="http://schemas.microsoft.com/office/drawing/2014/main" id="{546889D8-9709-4F71-B18A-1D2B2BA4F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C51520-2EC2-4A4B-AA06-B0505A9E0D69}" type="datetime1">
              <a:rPr lang="da-DK" smtClean="0">
                <a:solidFill>
                  <a:prstClr val="white"/>
                </a:solidFill>
              </a:rPr>
              <a:pPr/>
              <a:t>26-10-2020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5" name="Billede 14">
            <a:extLst>
              <a:ext uri="{FF2B5EF4-FFF2-40B4-BE49-F238E27FC236}">
                <a16:creationId xmlns="" xmlns:a16="http://schemas.microsoft.com/office/drawing/2014/main" id="{C9E6F0EE-BC80-4D35-9B52-BF3B285A4EF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6" name="textruta 5">
            <a:extLst>
              <a:ext uri="{FF2B5EF4-FFF2-40B4-BE49-F238E27FC236}">
                <a16:creationId xmlns="" xmlns:a16="http://schemas.microsoft.com/office/drawing/2014/main" id="{CCC23F34-40F4-46BB-B4C2-0060E0412415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88327577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delt hvid 0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0FD4DCA0-DD52-400A-B789-E9E60A47B6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3688"/>
            <a:ext cx="10677546" cy="1015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="" xmlns:a16="http://schemas.microsoft.com/office/drawing/2014/main" id="{C1625C9B-9F02-4F0D-9E17-3ADF3620EF7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1978" y="1919288"/>
            <a:ext cx="3400448" cy="442912"/>
          </a:xfrm>
          <a:solidFill>
            <a:schemeClr val="accent3"/>
          </a:solidFill>
        </p:spPr>
        <p:txBody>
          <a:bodyPr lIns="180000" rIns="180000" anchor="t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="" xmlns:a16="http://schemas.microsoft.com/office/drawing/2014/main" id="{DD0C71F5-7389-4491-B5C6-5C0AEB15509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97355" y="1919288"/>
            <a:ext cx="3400448" cy="442912"/>
          </a:xfrm>
          <a:solidFill>
            <a:schemeClr val="accent3"/>
          </a:solidFill>
        </p:spPr>
        <p:txBody>
          <a:bodyPr lIns="180000" rIns="180000" anchor="t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3" name="Pladsholder til tekst 4">
            <a:extLst>
              <a:ext uri="{FF2B5EF4-FFF2-40B4-BE49-F238E27FC236}">
                <a16:creationId xmlns="" xmlns:a16="http://schemas.microsoft.com/office/drawing/2014/main" id="{66CEEEDF-9C2D-494F-93E9-5CDED9C9804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039077" y="1919288"/>
            <a:ext cx="3400448" cy="442912"/>
          </a:xfrm>
          <a:solidFill>
            <a:schemeClr val="accent3"/>
          </a:solidFill>
        </p:spPr>
        <p:txBody>
          <a:bodyPr lIns="180000" rIns="180000" anchor="t" anchorCtr="0"/>
          <a:lstStyle>
            <a:lvl1pPr marL="0" indent="0" algn="ctr">
              <a:buNone/>
              <a:defRPr sz="2000" b="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1" name="Pladsholder til tekst 20">
            <a:extLst>
              <a:ext uri="{FF2B5EF4-FFF2-40B4-BE49-F238E27FC236}">
                <a16:creationId xmlns="" xmlns:a16="http://schemas.microsoft.com/office/drawing/2014/main" id="{E82AF51A-26E4-4399-85A3-34F3235133E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977" y="2600325"/>
            <a:ext cx="3400448" cy="3124199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23" name="Pladsholder til tekst 22">
            <a:extLst>
              <a:ext uri="{FF2B5EF4-FFF2-40B4-BE49-F238E27FC236}">
                <a16:creationId xmlns="" xmlns:a16="http://schemas.microsoft.com/office/drawing/2014/main" id="{0BDFA7B5-F6AD-4F0E-B386-080E7ED69FF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397354" y="2600326"/>
            <a:ext cx="3400448" cy="3124199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4" name="Pladsholder til tekst 22">
            <a:extLst>
              <a:ext uri="{FF2B5EF4-FFF2-40B4-BE49-F238E27FC236}">
                <a16:creationId xmlns="" xmlns:a16="http://schemas.microsoft.com/office/drawing/2014/main" id="{9F9A14AB-5212-49B5-90C8-2B5D9BA946A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039076" y="2600326"/>
            <a:ext cx="3400448" cy="3124199"/>
          </a:xfrm>
        </p:spPr>
        <p:txBody>
          <a:bodyPr/>
          <a:lstStyle>
            <a:lvl1pPr>
              <a:defRPr sz="1200">
                <a:solidFill>
                  <a:schemeClr val="bg1"/>
                </a:solidFill>
              </a:defRPr>
            </a:lvl1pPr>
            <a:lvl2pPr>
              <a:defRPr sz="1200">
                <a:solidFill>
                  <a:schemeClr val="bg1"/>
                </a:solidFill>
              </a:defRPr>
            </a:lvl2pPr>
            <a:lvl3pPr>
              <a:defRPr sz="1200">
                <a:solidFill>
                  <a:schemeClr val="bg1"/>
                </a:solidFill>
              </a:defRPr>
            </a:lvl3pPr>
            <a:lvl4pPr>
              <a:defRPr sz="12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9" name="Pladsholder til slidenummer 8">
            <a:extLst>
              <a:ext uri="{FF2B5EF4-FFF2-40B4-BE49-F238E27FC236}">
                <a16:creationId xmlns="" xmlns:a16="http://schemas.microsoft.com/office/drawing/2014/main" id="{816BE8C4-B108-4998-AAED-D146EF9763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8" name="Pladsholder til sidefod 7">
            <a:extLst>
              <a:ext uri="{FF2B5EF4-FFF2-40B4-BE49-F238E27FC236}">
                <a16:creationId xmlns="" xmlns:a16="http://schemas.microsoft.com/office/drawing/2014/main" id="{931D4098-E562-44E4-84D3-C659755715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>
                <a:solidFill>
                  <a:prstClr val="white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white"/>
                </a:solidFill>
              </a:rPr>
              <a:t>Norlys</a:t>
            </a:r>
            <a:r>
              <a:rPr lang="da-DK" dirty="0">
                <a:solidFill>
                  <a:prstClr val="white"/>
                </a:solidFill>
              </a:rPr>
              <a:t> Vækstpulje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="" xmlns:a16="http://schemas.microsoft.com/office/drawing/2014/main" id="{546889D8-9709-4F71-B18A-1D2B2BA4F2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CA0758-1A90-9E4E-AF70-1B9258C239FE}" type="datetime1">
              <a:rPr lang="da-DK" smtClean="0">
                <a:solidFill>
                  <a:prstClr val="white"/>
                </a:solidFill>
              </a:rPr>
              <a:pPr/>
              <a:t>26-10-2020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8" name="Billede 17">
            <a:extLst>
              <a:ext uri="{FF2B5EF4-FFF2-40B4-BE49-F238E27FC236}">
                <a16:creationId xmlns="" xmlns:a16="http://schemas.microsoft.com/office/drawing/2014/main" id="{DB5193E6-49C3-4848-BF12-12644B1137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6" name="textruta 5">
            <a:extLst>
              <a:ext uri="{FF2B5EF4-FFF2-40B4-BE49-F238E27FC236}">
                <a16:creationId xmlns="" xmlns:a16="http://schemas.microsoft.com/office/drawing/2014/main" id="{47203AF5-DF39-4747-9527-84AC04E5D308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22301992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 tekst hvid 0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1">
            <a:extLst>
              <a:ext uri="{FF2B5EF4-FFF2-40B4-BE49-F238E27FC236}">
                <a16:creationId xmlns="" xmlns:a16="http://schemas.microsoft.com/office/drawing/2014/main" id="{502602BC-D02D-4DF3-B9E8-B34B3724F1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4975" y="1252537"/>
            <a:ext cx="6242050" cy="340155"/>
          </a:xfrm>
        </p:spPr>
        <p:txBody>
          <a:bodyPr anchor="t" anchorCtr="0"/>
          <a:lstStyle>
            <a:lvl1pPr algn="ctr">
              <a:defRPr sz="16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Pladsholder til tekst 2">
            <a:extLst>
              <a:ext uri="{FF2B5EF4-FFF2-40B4-BE49-F238E27FC236}">
                <a16:creationId xmlns="" xmlns:a16="http://schemas.microsoft.com/office/drawing/2014/main" id="{E17E2239-3F0C-48A6-9FE0-FCABBFBD0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819275" y="1947863"/>
            <a:ext cx="8553450" cy="3657600"/>
          </a:xfrm>
        </p:spPr>
        <p:txBody>
          <a:bodyPr/>
          <a:lstStyle>
            <a:lvl1pPr marL="0" indent="0" algn="ctr">
              <a:lnSpc>
                <a:spcPct val="90000"/>
              </a:lnSpc>
              <a:spcBef>
                <a:spcPts val="3000"/>
              </a:spcBef>
              <a:buNone/>
              <a:defRPr sz="34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="" xmlns:a16="http://schemas.microsoft.com/office/drawing/2014/main" id="{6EEF8328-C16E-4177-BBD0-87A0D1EBC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="" xmlns:a16="http://schemas.microsoft.com/office/drawing/2014/main" id="{6E02E910-DCD7-43A2-9532-191B1495B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>
                <a:solidFill>
                  <a:prstClr val="white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white"/>
                </a:solidFill>
              </a:rPr>
              <a:t>Norlys</a:t>
            </a:r>
            <a:r>
              <a:rPr lang="da-DK" dirty="0">
                <a:solidFill>
                  <a:prstClr val="white"/>
                </a:solidFill>
              </a:rPr>
              <a:t> Vækstpulj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="" xmlns:a16="http://schemas.microsoft.com/office/drawing/2014/main" id="{227335C1-2438-40F8-A641-7C6E29949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5FF431B-185C-1746-925A-15182131FFE2}" type="datetime1">
              <a:rPr lang="da-DK" smtClean="0">
                <a:solidFill>
                  <a:prstClr val="white"/>
                </a:solidFill>
              </a:rPr>
              <a:pPr/>
              <a:t>26-10-2020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0" name="Billede 9">
            <a:extLst>
              <a:ext uri="{FF2B5EF4-FFF2-40B4-BE49-F238E27FC236}">
                <a16:creationId xmlns="" xmlns:a16="http://schemas.microsoft.com/office/drawing/2014/main" id="{833D7CAB-8A77-4EAB-8311-10FEDAD0A25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3" name="textruta 5">
            <a:extLst>
              <a:ext uri="{FF2B5EF4-FFF2-40B4-BE49-F238E27FC236}">
                <a16:creationId xmlns="" xmlns:a16="http://schemas.microsoft.com/office/drawing/2014/main" id="{A9B4CE4E-8EF0-4598-AFD8-D2AD3AEE4D87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8054470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 tekst ikoner hvid 0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="" xmlns:a16="http://schemas.microsoft.com/office/drawing/2014/main" id="{E17E2239-3F0C-48A6-9FE0-FCABBFBD0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19463" y="1604350"/>
            <a:ext cx="5553075" cy="3657600"/>
          </a:xfrm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3000"/>
              </a:spcBef>
              <a:buNone/>
              <a:defRPr sz="34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="" xmlns:a16="http://schemas.microsoft.com/office/drawing/2014/main" id="{6EEF8328-C16E-4177-BBD0-87A0D1EBC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="" xmlns:a16="http://schemas.microsoft.com/office/drawing/2014/main" id="{6E02E910-DCD7-43A2-9532-191B1495B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>
                <a:solidFill>
                  <a:prstClr val="white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white"/>
                </a:solidFill>
              </a:rPr>
              <a:t>Norlys</a:t>
            </a:r>
            <a:r>
              <a:rPr lang="da-DK" dirty="0">
                <a:solidFill>
                  <a:prstClr val="white"/>
                </a:solidFill>
              </a:rPr>
              <a:t> Vækstpulj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="" xmlns:a16="http://schemas.microsoft.com/office/drawing/2014/main" id="{227335C1-2438-40F8-A641-7C6E29949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4EE97E6-AD39-2B4F-99C9-0CE4C896864D}" type="datetime1">
              <a:rPr lang="da-DK" smtClean="0">
                <a:solidFill>
                  <a:prstClr val="white"/>
                </a:solidFill>
              </a:rPr>
              <a:pPr/>
              <a:t>26-10-2020</a:t>
            </a:fld>
            <a:endParaRPr lang="da-DK" dirty="0">
              <a:solidFill>
                <a:prstClr val="white"/>
              </a:solidFill>
            </a:endParaRPr>
          </a:p>
        </p:txBody>
      </p:sp>
      <p:sp>
        <p:nvSpPr>
          <p:cNvPr id="10" name="Kombinationstegning: figur 9">
            <a:extLst>
              <a:ext uri="{FF2B5EF4-FFF2-40B4-BE49-F238E27FC236}">
                <a16:creationId xmlns="" xmlns:a16="http://schemas.microsoft.com/office/drawing/2014/main" id="{1F1CCD4E-84E2-4D96-A863-8E7CBF49BD7E}"/>
              </a:ext>
            </a:extLst>
          </p:cNvPr>
          <p:cNvSpPr/>
          <p:nvPr userDrawn="1"/>
        </p:nvSpPr>
        <p:spPr bwMode="black">
          <a:xfrm>
            <a:off x="9152426" y="1566321"/>
            <a:ext cx="1653666" cy="3714861"/>
          </a:xfrm>
          <a:custGeom>
            <a:avLst/>
            <a:gdLst>
              <a:gd name="connsiteX0" fmla="*/ 886301 w 1235465"/>
              <a:gd name="connsiteY0" fmla="*/ 325949 h 2775398"/>
              <a:gd name="connsiteX1" fmla="*/ 190119 w 1235465"/>
              <a:gd name="connsiteY1" fmla="*/ 6576 h 2775398"/>
              <a:gd name="connsiteX2" fmla="*/ 0 w 1235465"/>
              <a:gd name="connsiteY2" fmla="*/ 4 h 2775398"/>
              <a:gd name="connsiteX3" fmla="*/ 0 w 1235465"/>
              <a:gd name="connsiteY3" fmla="*/ 576552 h 2775398"/>
              <a:gd name="connsiteX4" fmla="*/ 236220 w 1235465"/>
              <a:gd name="connsiteY4" fmla="*/ 604841 h 2775398"/>
              <a:gd name="connsiteX5" fmla="*/ 638365 w 1235465"/>
              <a:gd name="connsiteY5" fmla="*/ 1110238 h 2775398"/>
              <a:gd name="connsiteX6" fmla="*/ 638556 w 1235465"/>
              <a:gd name="connsiteY6" fmla="*/ 1662116 h 2775398"/>
              <a:gd name="connsiteX7" fmla="*/ 234696 w 1235465"/>
              <a:gd name="connsiteY7" fmla="*/ 2170561 h 2775398"/>
              <a:gd name="connsiteX8" fmla="*/ 0 w 1235465"/>
              <a:gd name="connsiteY8" fmla="*/ 2201517 h 2775398"/>
              <a:gd name="connsiteX9" fmla="*/ 0 w 1235465"/>
              <a:gd name="connsiteY9" fmla="*/ 2775398 h 2775398"/>
              <a:gd name="connsiteX10" fmla="*/ 190119 w 1235465"/>
              <a:gd name="connsiteY10" fmla="*/ 2768826 h 2775398"/>
              <a:gd name="connsiteX11" fmla="*/ 885254 w 1235465"/>
              <a:gd name="connsiteY11" fmla="*/ 2448215 h 2775398"/>
              <a:gd name="connsiteX12" fmla="*/ 1223581 w 1235465"/>
              <a:gd name="connsiteY12" fmla="*/ 1697930 h 2775398"/>
              <a:gd name="connsiteX13" fmla="*/ 1223772 w 1235465"/>
              <a:gd name="connsiteY13" fmla="*/ 1080520 h 2775398"/>
              <a:gd name="connsiteX14" fmla="*/ 886301 w 1235465"/>
              <a:gd name="connsiteY14" fmla="*/ 325949 h 277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35465" h="2775398">
                <a:moveTo>
                  <a:pt x="886301" y="325949"/>
                </a:moveTo>
                <a:cubicBezTo>
                  <a:pt x="695134" y="135545"/>
                  <a:pt x="452056" y="23816"/>
                  <a:pt x="190119" y="6576"/>
                </a:cubicBezTo>
                <a:cubicBezTo>
                  <a:pt x="85058" y="-377"/>
                  <a:pt x="0" y="4"/>
                  <a:pt x="0" y="4"/>
                </a:cubicBezTo>
                <a:lnTo>
                  <a:pt x="0" y="576552"/>
                </a:lnTo>
                <a:cubicBezTo>
                  <a:pt x="0" y="576552"/>
                  <a:pt x="157067" y="584458"/>
                  <a:pt x="236220" y="604841"/>
                </a:cubicBezTo>
                <a:cubicBezTo>
                  <a:pt x="454533" y="661229"/>
                  <a:pt x="625887" y="865731"/>
                  <a:pt x="638365" y="1110238"/>
                </a:cubicBezTo>
                <a:cubicBezTo>
                  <a:pt x="652463" y="1387320"/>
                  <a:pt x="653319" y="1419896"/>
                  <a:pt x="638556" y="1662116"/>
                </a:cubicBezTo>
                <a:cubicBezTo>
                  <a:pt x="623506" y="1908147"/>
                  <a:pt x="451866" y="2115221"/>
                  <a:pt x="234696" y="2170561"/>
                </a:cubicBezTo>
                <a:cubicBezTo>
                  <a:pt x="143256" y="2193897"/>
                  <a:pt x="0" y="2201517"/>
                  <a:pt x="0" y="2201517"/>
                </a:cubicBezTo>
                <a:lnTo>
                  <a:pt x="0" y="2775398"/>
                </a:lnTo>
                <a:cubicBezTo>
                  <a:pt x="0" y="2775398"/>
                  <a:pt x="118205" y="2773684"/>
                  <a:pt x="190119" y="2768826"/>
                </a:cubicBezTo>
                <a:cubicBezTo>
                  <a:pt x="453294" y="2750824"/>
                  <a:pt x="694372" y="2639381"/>
                  <a:pt x="885254" y="2448215"/>
                </a:cubicBezTo>
                <a:cubicBezTo>
                  <a:pt x="1086136" y="2247142"/>
                  <a:pt x="1206246" y="1980632"/>
                  <a:pt x="1223581" y="1697930"/>
                </a:cubicBezTo>
                <a:cubicBezTo>
                  <a:pt x="1239869" y="1431706"/>
                  <a:pt x="1238916" y="1378176"/>
                  <a:pt x="1223772" y="1080520"/>
                </a:cubicBezTo>
                <a:cubicBezTo>
                  <a:pt x="1209198" y="796199"/>
                  <a:pt x="1089374" y="528260"/>
                  <a:pt x="886301" y="325949"/>
                </a:cubicBezTo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11" name="Kombinationstegning: figur 10">
            <a:extLst>
              <a:ext uri="{FF2B5EF4-FFF2-40B4-BE49-F238E27FC236}">
                <a16:creationId xmlns="" xmlns:a16="http://schemas.microsoft.com/office/drawing/2014/main" id="{7A84A4AD-C510-44F1-A8D4-AED2EC538EC9}"/>
              </a:ext>
            </a:extLst>
          </p:cNvPr>
          <p:cNvSpPr/>
          <p:nvPr userDrawn="1"/>
        </p:nvSpPr>
        <p:spPr bwMode="black">
          <a:xfrm>
            <a:off x="1394460" y="1566321"/>
            <a:ext cx="1653539" cy="3714862"/>
          </a:xfrm>
          <a:custGeom>
            <a:avLst/>
            <a:gdLst>
              <a:gd name="connsiteX0" fmla="*/ 349069 w 1235370"/>
              <a:gd name="connsiteY0" fmla="*/ 325949 h 2775398"/>
              <a:gd name="connsiteX1" fmla="*/ 1045251 w 1235370"/>
              <a:gd name="connsiteY1" fmla="*/ 6576 h 2775398"/>
              <a:gd name="connsiteX2" fmla="*/ 1235370 w 1235370"/>
              <a:gd name="connsiteY2" fmla="*/ 4 h 2775398"/>
              <a:gd name="connsiteX3" fmla="*/ 1235370 w 1235370"/>
              <a:gd name="connsiteY3" fmla="*/ 576552 h 2775398"/>
              <a:gd name="connsiteX4" fmla="*/ 999150 w 1235370"/>
              <a:gd name="connsiteY4" fmla="*/ 604841 h 2775398"/>
              <a:gd name="connsiteX5" fmla="*/ 597005 w 1235370"/>
              <a:gd name="connsiteY5" fmla="*/ 1110238 h 2775398"/>
              <a:gd name="connsiteX6" fmla="*/ 596814 w 1235370"/>
              <a:gd name="connsiteY6" fmla="*/ 1662116 h 2775398"/>
              <a:gd name="connsiteX7" fmla="*/ 1000674 w 1235370"/>
              <a:gd name="connsiteY7" fmla="*/ 2170561 h 2775398"/>
              <a:gd name="connsiteX8" fmla="*/ 1235370 w 1235370"/>
              <a:gd name="connsiteY8" fmla="*/ 2201517 h 2775398"/>
              <a:gd name="connsiteX9" fmla="*/ 1235370 w 1235370"/>
              <a:gd name="connsiteY9" fmla="*/ 2775398 h 2775398"/>
              <a:gd name="connsiteX10" fmla="*/ 1045251 w 1235370"/>
              <a:gd name="connsiteY10" fmla="*/ 2768826 h 2775398"/>
              <a:gd name="connsiteX11" fmla="*/ 350117 w 1235370"/>
              <a:gd name="connsiteY11" fmla="*/ 2448215 h 2775398"/>
              <a:gd name="connsiteX12" fmla="*/ 11884 w 1235370"/>
              <a:gd name="connsiteY12" fmla="*/ 1697930 h 2775398"/>
              <a:gd name="connsiteX13" fmla="*/ 11694 w 1235370"/>
              <a:gd name="connsiteY13" fmla="*/ 1080520 h 2775398"/>
              <a:gd name="connsiteX14" fmla="*/ 349069 w 1235370"/>
              <a:gd name="connsiteY14" fmla="*/ 325949 h 27753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235370" h="2775398">
                <a:moveTo>
                  <a:pt x="349069" y="325949"/>
                </a:moveTo>
                <a:cubicBezTo>
                  <a:pt x="540236" y="135545"/>
                  <a:pt x="783314" y="23816"/>
                  <a:pt x="1045251" y="6576"/>
                </a:cubicBezTo>
                <a:cubicBezTo>
                  <a:pt x="1150312" y="-377"/>
                  <a:pt x="1235370" y="4"/>
                  <a:pt x="1235370" y="4"/>
                </a:cubicBezTo>
                <a:lnTo>
                  <a:pt x="1235370" y="576552"/>
                </a:lnTo>
                <a:cubicBezTo>
                  <a:pt x="1235370" y="576552"/>
                  <a:pt x="1078208" y="584458"/>
                  <a:pt x="999150" y="604841"/>
                </a:cubicBezTo>
                <a:cubicBezTo>
                  <a:pt x="780837" y="661229"/>
                  <a:pt x="609483" y="865731"/>
                  <a:pt x="597005" y="1110238"/>
                </a:cubicBezTo>
                <a:cubicBezTo>
                  <a:pt x="582908" y="1387320"/>
                  <a:pt x="582051" y="1419896"/>
                  <a:pt x="596814" y="1662116"/>
                </a:cubicBezTo>
                <a:cubicBezTo>
                  <a:pt x="611864" y="1908147"/>
                  <a:pt x="783504" y="2115221"/>
                  <a:pt x="1000674" y="2170561"/>
                </a:cubicBezTo>
                <a:cubicBezTo>
                  <a:pt x="1092115" y="2193897"/>
                  <a:pt x="1235370" y="2201517"/>
                  <a:pt x="1235370" y="2201517"/>
                </a:cubicBezTo>
                <a:lnTo>
                  <a:pt x="1235370" y="2775398"/>
                </a:lnTo>
                <a:cubicBezTo>
                  <a:pt x="1235370" y="2775398"/>
                  <a:pt x="1117165" y="2773684"/>
                  <a:pt x="1045251" y="2768826"/>
                </a:cubicBezTo>
                <a:cubicBezTo>
                  <a:pt x="782076" y="2750824"/>
                  <a:pt x="540998" y="2639381"/>
                  <a:pt x="350117" y="2448215"/>
                </a:cubicBezTo>
                <a:cubicBezTo>
                  <a:pt x="149235" y="2247142"/>
                  <a:pt x="29124" y="1980632"/>
                  <a:pt x="11884" y="1697930"/>
                </a:cubicBezTo>
                <a:cubicBezTo>
                  <a:pt x="-4404" y="1431706"/>
                  <a:pt x="-3451" y="1378176"/>
                  <a:pt x="11694" y="1080520"/>
                </a:cubicBezTo>
                <a:cubicBezTo>
                  <a:pt x="26172" y="796199"/>
                  <a:pt x="145996" y="528260"/>
                  <a:pt x="349069" y="325949"/>
                </a:cubicBezTo>
              </a:path>
            </a:pathLst>
          </a:custGeom>
          <a:solidFill>
            <a:schemeClr val="bg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4" name="Billede 13">
            <a:extLst>
              <a:ext uri="{FF2B5EF4-FFF2-40B4-BE49-F238E27FC236}">
                <a16:creationId xmlns="" xmlns:a16="http://schemas.microsoft.com/office/drawing/2014/main" id="{A62B4F67-DD74-4256-9C5D-11B888D24D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5" name="textruta 5">
            <a:extLst>
              <a:ext uri="{FF2B5EF4-FFF2-40B4-BE49-F238E27FC236}">
                <a16:creationId xmlns="" xmlns:a16="http://schemas.microsoft.com/office/drawing/2014/main" id="{65034F1C-1AA3-4AE4-9221-8D527A8DD2CE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23442833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 tekst ikoner hvid animationer 0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tekst 2">
            <a:extLst>
              <a:ext uri="{FF2B5EF4-FFF2-40B4-BE49-F238E27FC236}">
                <a16:creationId xmlns="" xmlns:a16="http://schemas.microsoft.com/office/drawing/2014/main" id="{E17E2239-3F0C-48A6-9FE0-FCABBFBD0C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19463" y="1604350"/>
            <a:ext cx="5553075" cy="3657600"/>
          </a:xfrm>
        </p:spPr>
        <p:txBody>
          <a:bodyPr anchor="ctr" anchorCtr="0"/>
          <a:lstStyle>
            <a:lvl1pPr marL="0" indent="0" algn="ctr">
              <a:lnSpc>
                <a:spcPct val="90000"/>
              </a:lnSpc>
              <a:spcBef>
                <a:spcPts val="3000"/>
              </a:spcBef>
              <a:buNone/>
              <a:defRPr sz="34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="" xmlns:a16="http://schemas.microsoft.com/office/drawing/2014/main" id="{6EEF8328-C16E-4177-BBD0-87A0D1EBCF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="" xmlns:a16="http://schemas.microsoft.com/office/drawing/2014/main" id="{6E02E910-DCD7-43A2-9532-191B1495B8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>
                <a:solidFill>
                  <a:prstClr val="white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white"/>
                </a:solidFill>
              </a:rPr>
              <a:t>Norlys</a:t>
            </a:r>
            <a:r>
              <a:rPr lang="da-DK" dirty="0">
                <a:solidFill>
                  <a:prstClr val="white"/>
                </a:solidFill>
              </a:rPr>
              <a:t> Vækstpulj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="" xmlns:a16="http://schemas.microsoft.com/office/drawing/2014/main" id="{227335C1-2438-40F8-A641-7C6E29949BC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98CA0D8-3D03-884A-8D89-79B0FE46EFD8}" type="datetime1">
              <a:rPr lang="da-DK" smtClean="0">
                <a:solidFill>
                  <a:prstClr val="white"/>
                </a:solidFill>
              </a:rPr>
              <a:pPr/>
              <a:t>26-10-2020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4" name="Billede 13">
            <a:extLst>
              <a:ext uri="{FF2B5EF4-FFF2-40B4-BE49-F238E27FC236}">
                <a16:creationId xmlns="" xmlns:a16="http://schemas.microsoft.com/office/drawing/2014/main" id="{A62B4F67-DD74-4256-9C5D-11B888D24D2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0" name="textruta 5">
            <a:extLst>
              <a:ext uri="{FF2B5EF4-FFF2-40B4-BE49-F238E27FC236}">
                <a16:creationId xmlns="" xmlns:a16="http://schemas.microsoft.com/office/drawing/2014/main" id="{A0F747F9-E8C9-4BE2-BE7C-2C0EC65B8975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79179190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ks bokse 0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FF0DEB4D-63B8-4D15-A3BE-38A01EE11E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3688"/>
            <a:ext cx="10677548" cy="10152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7" name="Pladsholder til slidenummer 6">
            <a:extLst>
              <a:ext uri="{FF2B5EF4-FFF2-40B4-BE49-F238E27FC236}">
                <a16:creationId xmlns="" xmlns:a16="http://schemas.microsoft.com/office/drawing/2014/main" id="{84696385-6ED1-49EE-A8E3-8E1AC23F57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6" name="Pladsholder til sidefod 5">
            <a:extLst>
              <a:ext uri="{FF2B5EF4-FFF2-40B4-BE49-F238E27FC236}">
                <a16:creationId xmlns="" xmlns:a16="http://schemas.microsoft.com/office/drawing/2014/main" id="{C9036D23-04CA-458D-80B1-A69800A910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 dirty="0">
                <a:solidFill>
                  <a:prstClr val="white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white"/>
                </a:solidFill>
              </a:rPr>
              <a:t>Norlys</a:t>
            </a:r>
            <a:r>
              <a:rPr lang="da-DK" dirty="0">
                <a:solidFill>
                  <a:prstClr val="white"/>
                </a:solidFill>
              </a:rPr>
              <a:t> Vækstpulje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="" xmlns:a16="http://schemas.microsoft.com/office/drawing/2014/main" id="{A3A655A5-A074-424E-BF36-7AA7DAE604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C1D98C4-ECA4-F44A-99F6-1581B59E1680}" type="datetime1">
              <a:rPr lang="da-DK" smtClean="0">
                <a:solidFill>
                  <a:prstClr val="white"/>
                </a:solidFill>
              </a:rPr>
              <a:pPr/>
              <a:t>26-10-2020</a:t>
            </a:fld>
            <a:endParaRPr lang="da-DK" dirty="0">
              <a:solidFill>
                <a:prstClr val="white"/>
              </a:solidFill>
            </a:endParaRPr>
          </a:p>
        </p:txBody>
      </p:sp>
      <p:pic>
        <p:nvPicPr>
          <p:cNvPr id="12" name="Billede 11">
            <a:extLst>
              <a:ext uri="{FF2B5EF4-FFF2-40B4-BE49-F238E27FC236}">
                <a16:creationId xmlns="" xmlns:a16="http://schemas.microsoft.com/office/drawing/2014/main" id="{6118B655-B59F-4BE3-A116-ADC204EB490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4" name="Pladsholder til tekst 13">
            <a:extLst>
              <a:ext uri="{FF2B5EF4-FFF2-40B4-BE49-F238E27FC236}">
                <a16:creationId xmlns="" xmlns:a16="http://schemas.microsoft.com/office/drawing/2014/main" id="{EC16370D-1B4C-4104-9E74-60B9DC6CD9A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47253" y="1920875"/>
            <a:ext cx="2586038" cy="1624806"/>
          </a:xfrm>
          <a:solidFill>
            <a:schemeClr val="accent4"/>
          </a:solidFill>
        </p:spPr>
        <p:txBody>
          <a:bodyPr lIns="180000" tIns="540000" rIns="180000" bIns="180000"/>
          <a:lstStyle>
            <a:lvl1pPr marL="0" indent="0" algn="ctr">
              <a:buFontTx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#</a:t>
            </a:r>
          </a:p>
        </p:txBody>
      </p:sp>
      <p:sp>
        <p:nvSpPr>
          <p:cNvPr id="17" name="Pladsholder til tekst 16">
            <a:extLst>
              <a:ext uri="{FF2B5EF4-FFF2-40B4-BE49-F238E27FC236}">
                <a16:creationId xmlns="" xmlns:a16="http://schemas.microsoft.com/office/drawing/2014/main" id="{C23F908A-5786-4570-9F33-1ECA00910C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 bwMode="white">
          <a:xfrm>
            <a:off x="2530621" y="2276475"/>
            <a:ext cx="2021681" cy="157163"/>
          </a:xfrm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2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2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0" name="Pladsholder til tekst 13">
            <a:extLst>
              <a:ext uri="{FF2B5EF4-FFF2-40B4-BE49-F238E27FC236}">
                <a16:creationId xmlns="" xmlns:a16="http://schemas.microsoft.com/office/drawing/2014/main" id="{1F5A73FA-99B4-4297-BCC9-8F7D9C7B434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85377" y="1920875"/>
            <a:ext cx="2586038" cy="1624806"/>
          </a:xfrm>
          <a:solidFill>
            <a:schemeClr val="accent2"/>
          </a:solidFill>
        </p:spPr>
        <p:txBody>
          <a:bodyPr lIns="180000" tIns="540000" rIns="180000" bIns="180000"/>
          <a:lstStyle>
            <a:lvl1pPr marL="0" indent="0" algn="ctr">
              <a:buFontTx/>
              <a:buNone/>
              <a:defRPr sz="4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#</a:t>
            </a:r>
          </a:p>
        </p:txBody>
      </p:sp>
      <p:sp>
        <p:nvSpPr>
          <p:cNvPr id="21" name="Pladsholder til tekst 16">
            <a:extLst>
              <a:ext uri="{FF2B5EF4-FFF2-40B4-BE49-F238E27FC236}">
                <a16:creationId xmlns="" xmlns:a16="http://schemas.microsoft.com/office/drawing/2014/main" id="{0E3661CC-F435-451F-BF23-ACE413C4A88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68745" y="2276475"/>
            <a:ext cx="2021681" cy="157163"/>
          </a:xfrm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2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2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2" name="Pladsholder til tekst 13">
            <a:extLst>
              <a:ext uri="{FF2B5EF4-FFF2-40B4-BE49-F238E27FC236}">
                <a16:creationId xmlns="" xmlns:a16="http://schemas.microsoft.com/office/drawing/2014/main" id="{6F3E7357-DED3-426A-9448-8E0F18D3408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22854" y="1920875"/>
            <a:ext cx="2586038" cy="1624806"/>
          </a:xfrm>
          <a:solidFill>
            <a:schemeClr val="accent3"/>
          </a:solidFill>
        </p:spPr>
        <p:txBody>
          <a:bodyPr lIns="180000" tIns="540000" rIns="180000" bIns="180000"/>
          <a:lstStyle>
            <a:lvl1pPr marL="0" indent="0" algn="ctr">
              <a:buFontTx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#</a:t>
            </a:r>
          </a:p>
        </p:txBody>
      </p:sp>
      <p:sp>
        <p:nvSpPr>
          <p:cNvPr id="23" name="Pladsholder til tekst 16">
            <a:extLst>
              <a:ext uri="{FF2B5EF4-FFF2-40B4-BE49-F238E27FC236}">
                <a16:creationId xmlns="" xmlns:a16="http://schemas.microsoft.com/office/drawing/2014/main" id="{EC6CB6CA-B795-4342-BCF0-9C41CF0F11E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white">
          <a:xfrm>
            <a:off x="8006222" y="2276475"/>
            <a:ext cx="2021681" cy="157163"/>
          </a:xfrm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2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2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4" name="Pladsholder til tekst 13">
            <a:extLst>
              <a:ext uri="{FF2B5EF4-FFF2-40B4-BE49-F238E27FC236}">
                <a16:creationId xmlns="" xmlns:a16="http://schemas.microsoft.com/office/drawing/2014/main" id="{1542EED7-4B08-49CD-94E0-BBFAE1CE099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247253" y="3728244"/>
            <a:ext cx="2586038" cy="1624806"/>
          </a:xfrm>
          <a:solidFill>
            <a:schemeClr val="bg1"/>
          </a:solidFill>
        </p:spPr>
        <p:txBody>
          <a:bodyPr lIns="180000" tIns="540000" rIns="180000" bIns="180000"/>
          <a:lstStyle>
            <a:lvl1pPr marL="0" indent="0" algn="ctr">
              <a:buFontTx/>
              <a:buNone/>
              <a:defRPr sz="4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#</a:t>
            </a:r>
          </a:p>
        </p:txBody>
      </p:sp>
      <p:sp>
        <p:nvSpPr>
          <p:cNvPr id="25" name="Pladsholder til tekst 16">
            <a:extLst>
              <a:ext uri="{FF2B5EF4-FFF2-40B4-BE49-F238E27FC236}">
                <a16:creationId xmlns="" xmlns:a16="http://schemas.microsoft.com/office/drawing/2014/main" id="{98B9CE39-02C9-4D3C-B5EF-4C05B007465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530621" y="4083844"/>
            <a:ext cx="2021681" cy="157163"/>
          </a:xfrm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2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2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6" name="Pladsholder til tekst 13">
            <a:extLst>
              <a:ext uri="{FF2B5EF4-FFF2-40B4-BE49-F238E27FC236}">
                <a16:creationId xmlns="" xmlns:a16="http://schemas.microsoft.com/office/drawing/2014/main" id="{2959FBF2-C16D-4DF4-AB91-8770B7608A5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85377" y="3728244"/>
            <a:ext cx="2586038" cy="1624806"/>
          </a:xfrm>
          <a:solidFill>
            <a:schemeClr val="accent6"/>
          </a:solidFill>
        </p:spPr>
        <p:txBody>
          <a:bodyPr lIns="180000" tIns="540000" rIns="180000" bIns="180000"/>
          <a:lstStyle>
            <a:lvl1pPr marL="0" indent="0" algn="ctr">
              <a:buFontTx/>
              <a:buNone/>
              <a:defRPr sz="40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#</a:t>
            </a:r>
          </a:p>
        </p:txBody>
      </p:sp>
      <p:sp>
        <p:nvSpPr>
          <p:cNvPr id="27" name="Pladsholder til tekst 16">
            <a:extLst>
              <a:ext uri="{FF2B5EF4-FFF2-40B4-BE49-F238E27FC236}">
                <a16:creationId xmlns="" xmlns:a16="http://schemas.microsoft.com/office/drawing/2014/main" id="{82AF0D12-2431-477A-87D0-C9CBE8963C00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white">
          <a:xfrm>
            <a:off x="5268745" y="4083844"/>
            <a:ext cx="2021681" cy="157163"/>
          </a:xfrm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2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2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8" name="Pladsholder til tekst 13">
            <a:extLst>
              <a:ext uri="{FF2B5EF4-FFF2-40B4-BE49-F238E27FC236}">
                <a16:creationId xmlns="" xmlns:a16="http://schemas.microsoft.com/office/drawing/2014/main" id="{B231932A-E96F-4264-915F-45E830E297B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722854" y="3728244"/>
            <a:ext cx="2586038" cy="1624806"/>
          </a:xfrm>
          <a:solidFill>
            <a:schemeClr val="accent5"/>
          </a:solidFill>
        </p:spPr>
        <p:txBody>
          <a:bodyPr lIns="180000" tIns="540000" rIns="180000" bIns="180000"/>
          <a:lstStyle>
            <a:lvl1pPr marL="0" indent="0" algn="ctr">
              <a:buFontTx/>
              <a:buNone/>
              <a:defRPr sz="40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 dirty="0"/>
              <a:t>#</a:t>
            </a:r>
          </a:p>
        </p:txBody>
      </p:sp>
      <p:sp>
        <p:nvSpPr>
          <p:cNvPr id="29" name="Pladsholder til tekst 16">
            <a:extLst>
              <a:ext uri="{FF2B5EF4-FFF2-40B4-BE49-F238E27FC236}">
                <a16:creationId xmlns="" xmlns:a16="http://schemas.microsoft.com/office/drawing/2014/main" id="{11C30B34-A91B-4364-A2DD-C7504A24AD5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006222" y="4083844"/>
            <a:ext cx="2021681" cy="157163"/>
          </a:xfrm>
        </p:spPr>
        <p:txBody>
          <a:bodyPr/>
          <a:lstStyle>
            <a:lvl1pPr marL="0" indent="0" algn="ctr">
              <a:buFontTx/>
              <a:buNone/>
              <a:defRPr sz="1200">
                <a:solidFill>
                  <a:schemeClr val="tx1"/>
                </a:solidFill>
              </a:defRPr>
            </a:lvl1pPr>
            <a:lvl2pPr marL="457200" indent="0">
              <a:buFontTx/>
              <a:buNone/>
              <a:defRPr sz="12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2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2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31" name="textruta 5">
            <a:extLst>
              <a:ext uri="{FF2B5EF4-FFF2-40B4-BE49-F238E27FC236}">
                <a16:creationId xmlns="" xmlns:a16="http://schemas.microsoft.com/office/drawing/2014/main" id="{0FCF3EAB-21EF-4F5F-B423-19ACDC3B3E4A}"/>
              </a:ext>
            </a:extLst>
          </p:cNvPr>
          <p:cNvSpPr txBox="1"/>
          <p:nvPr userDrawn="1"/>
        </p:nvSpPr>
        <p:spPr>
          <a:xfrm>
            <a:off x="0" y="-347875"/>
            <a:ext cx="12192000" cy="230832"/>
          </a:xfrm>
          <a:prstGeom prst="rect">
            <a:avLst/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 anchor="b" anchorCtr="0">
            <a:spAutoFit/>
          </a:bodyPr>
          <a:lstStyle/>
          <a:p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For at ændre baggrundsbilledet - </a:t>
            </a:r>
            <a:r>
              <a:rPr lang="da-DK" sz="900" dirty="0" err="1">
                <a:solidFill>
                  <a:prstClr val="black">
                    <a:lumMod val="65000"/>
                    <a:lumOff val="35000"/>
                  </a:prstClr>
                </a:solidFill>
              </a:rPr>
              <a:t>Højre-klik</a:t>
            </a:r>
            <a:r>
              <a:rPr lang="da-DK" sz="900" dirty="0">
                <a:solidFill>
                  <a:prstClr val="black">
                    <a:lumMod val="65000"/>
                    <a:lumOff val="35000"/>
                  </a:prstClr>
                </a:solidFill>
              </a:rPr>
              <a:t> på det tomme felt. Vælg Formatér baggrund / Billed- eller strukturfyld / og vælg det ønskede billede </a:t>
            </a:r>
            <a:endParaRPr lang="da-DK" sz="900" dirty="0">
              <a:solidFill>
                <a:prstClr val="black">
                  <a:lumMod val="65000"/>
                  <a:lumOff val="35000"/>
                </a:prstClr>
              </a:solidFill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427048648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="" xmlns:a16="http://schemas.microsoft.com/office/drawing/2014/main" id="{98FA22E4-E3D2-49E8-9C68-36BD6C24F5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51899-5B10-7C46-99B1-D3C3D31C9EAA}" type="datetime1">
              <a:rPr lang="da-DK" smtClean="0">
                <a:solidFill>
                  <a:prstClr val="black"/>
                </a:solidFill>
              </a:rPr>
              <a:pPr/>
              <a:t>26-10-2020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3" name="Pladsholder til sidefod 2">
            <a:extLst>
              <a:ext uri="{FF2B5EF4-FFF2-40B4-BE49-F238E27FC236}">
                <a16:creationId xmlns="" xmlns:a16="http://schemas.microsoft.com/office/drawing/2014/main" id="{10DA69EE-5F7A-4925-981F-230ABB4854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>
                <a:solidFill>
                  <a:prstClr val="black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="" xmlns:a16="http://schemas.microsoft.com/office/drawing/2014/main" id="{A6799111-3700-4055-891B-6BC7F0D63B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5" name="textruta 5">
            <a:extLst>
              <a:ext uri="{FF2B5EF4-FFF2-40B4-BE49-F238E27FC236}">
                <a16:creationId xmlns="" xmlns:a16="http://schemas.microsoft.com/office/drawing/2014/main" id="{70661081-6F1D-4381-A63F-28CF8C358819}"/>
              </a:ext>
            </a:extLst>
          </p:cNvPr>
          <p:cNvSpPr txBox="1"/>
          <p:nvPr userDrawn="1"/>
        </p:nvSpPr>
        <p:spPr>
          <a:xfrm>
            <a:off x="763563" y="1166842"/>
            <a:ext cx="10514037" cy="452431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da-DK" sz="7200" dirty="0">
                <a:solidFill>
                  <a:prstClr val="black"/>
                </a:solidFill>
              </a:rPr>
              <a:t>Layout sider efter denne side er ikke en del af din PowerPoint skabelon.</a:t>
            </a:r>
          </a:p>
        </p:txBody>
      </p:sp>
    </p:spTree>
    <p:extLst>
      <p:ext uri="{BB962C8B-B14F-4D97-AF65-F5344CB8AC3E}">
        <p14:creationId xmlns:p14="http://schemas.microsoft.com/office/powerpoint/2010/main" val="88194053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with headline and tex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C2F37F11-2D52-4716-98A4-8DA4A1ED5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9619" y="1224012"/>
            <a:ext cx="4990726" cy="1366838"/>
          </a:xfrm>
        </p:spPr>
        <p:txBody>
          <a:bodyPr/>
          <a:lstStyle>
            <a:lvl1pPr>
              <a:defRPr sz="3600"/>
            </a:lvl1pPr>
          </a:lstStyle>
          <a:p>
            <a:r>
              <a:rPr lang="da-DK"/>
              <a:t>Klik for at redigere i masteren</a:t>
            </a:r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="" xmlns:a16="http://schemas.microsoft.com/office/drawing/2014/main" id="{46C58602-B25F-46A3-A96F-AECF9CF079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39621" y="2901344"/>
            <a:ext cx="4990727" cy="2976702"/>
          </a:xfrm>
        </p:spPr>
        <p:txBody>
          <a:bodyPr/>
          <a:lstStyle>
            <a:lvl1pPr marL="0" indent="0">
              <a:buNone/>
              <a:defRPr sz="22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="" xmlns:a16="http://schemas.microsoft.com/office/drawing/2014/main" id="{6E710DEF-5968-41E5-909C-1FE1843B2F6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62116" y="439978"/>
            <a:ext cx="4139381" cy="5476568"/>
          </a:xfrm>
          <a:solidFill>
            <a:schemeClr val="bg1">
              <a:lumMod val="95000"/>
            </a:schemeClr>
          </a:solidFill>
        </p:spPr>
        <p:txBody>
          <a:bodyPr tIns="2124000" anchor="t" anchorCtr="1"/>
          <a:lstStyle>
            <a:lvl1pPr marL="0" indent="0">
              <a:buNone/>
              <a:defRPr/>
            </a:lvl1pPr>
          </a:lstStyle>
          <a:p>
            <a:r>
              <a:rPr lang="da-DK"/>
              <a:t>Træk billede til pladsholder, eller klik på symbol for at tilføje</a:t>
            </a:r>
          </a:p>
        </p:txBody>
      </p:sp>
      <p:sp>
        <p:nvSpPr>
          <p:cNvPr id="4" name="Pladsholder til sidefod 3">
            <a:extLst>
              <a:ext uri="{FF2B5EF4-FFF2-40B4-BE49-F238E27FC236}">
                <a16:creationId xmlns="" xmlns:a16="http://schemas.microsoft.com/office/drawing/2014/main" id="{56DFF303-1355-45A3-BCE7-C84EAABE96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 dirty="0">
                <a:solidFill>
                  <a:prstClr val="black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="" xmlns:a16="http://schemas.microsoft.com/office/drawing/2014/main" id="{5E2C9ECD-BA88-4B45-919B-2A2640DE6462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DC1EF374-20B7-B84E-BC46-386CEF4B23B8}" type="datetime1">
              <a:rPr lang="da-DK" smtClean="0">
                <a:solidFill>
                  <a:prstClr val="black"/>
                </a:solidFill>
              </a:rPr>
              <a:pPr/>
              <a:t>26-10-2020</a:t>
            </a:fld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5" name="Pladsholder til slidenummer 4">
            <a:extLst>
              <a:ext uri="{FF2B5EF4-FFF2-40B4-BE49-F238E27FC236}">
                <a16:creationId xmlns="" xmlns:a16="http://schemas.microsoft.com/office/drawing/2014/main" id="{70241F45-2656-4533-A0C0-2020CE08C98A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5D80666-4561-4DCF-B27F-CF1DAAB4FE75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05628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itle slide Logo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="" xmlns:a16="http://schemas.microsoft.com/office/drawing/2014/main" id="{F78124A3-C7DA-4DC8-8FED-8144D0EEAD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560714" y="2784796"/>
            <a:ext cx="7070572" cy="13204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8089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CDF246-3A21-4EE2-ACF6-56C0200E008B}" type="datetimeFigureOut">
              <a:rPr lang="da-DK" smtClean="0"/>
              <a:t>26-10-2020</a:t>
            </a:fld>
            <a:endParaRPr lang="da-DK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9A41D-7102-4A03-B33F-93E7F5EC502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2899043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lede 15" descr="Et billede, der indeholder græs, spor, grøn, felt&#10;&#10;Automatisk genereret beskrivelse">
            <a:extLst>
              <a:ext uri="{FF2B5EF4-FFF2-40B4-BE49-F238E27FC236}">
                <a16:creationId xmlns="" xmlns:a16="http://schemas.microsoft.com/office/drawing/2014/main" id="{F6571599-13D1-4C5C-9F4F-FE6CB46B75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4959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839787" y="2874963"/>
            <a:ext cx="10512425" cy="2387600"/>
          </a:xfrm>
        </p:spPr>
        <p:txBody>
          <a:bodyPr anchor="t"/>
          <a:lstStyle>
            <a:lvl1pPr algn="ctr">
              <a:defRPr sz="8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en</a:t>
            </a:r>
            <a:endParaRPr lang="sv-SE" dirty="0"/>
          </a:p>
        </p:txBody>
      </p:sp>
      <p:sp>
        <p:nvSpPr>
          <p:cNvPr id="4" name="Pladsholder til tekst 3">
            <a:extLst>
              <a:ext uri="{FF2B5EF4-FFF2-40B4-BE49-F238E27FC236}">
                <a16:creationId xmlns="" xmlns:a16="http://schemas.microsoft.com/office/drawing/2014/main" id="{9952EE5E-29B3-4681-94C9-0A78B27365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59217" y="2262189"/>
            <a:ext cx="3473571" cy="338136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04082913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vand, udendørs, ocean, strand&#10;&#10;Automatisk genereret beskrivelse">
            <a:extLst>
              <a:ext uri="{FF2B5EF4-FFF2-40B4-BE49-F238E27FC236}">
                <a16:creationId xmlns="" xmlns:a16="http://schemas.microsoft.com/office/drawing/2014/main" id="{D464D6A2-1C80-4F49-96D5-6482DD6D57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2889" b="2697"/>
          <a:stretch/>
        </p:blipFill>
        <p:spPr>
          <a:xfrm>
            <a:off x="0" y="-3175"/>
            <a:ext cx="12192000" cy="6861175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="" xmlns:a16="http://schemas.microsoft.com/office/drawing/2014/main" id="{EE02B37B-4CBF-4551-8679-FF525438EEB2}"/>
              </a:ext>
            </a:extLst>
          </p:cNvPr>
          <p:cNvSpPr/>
          <p:nvPr userDrawn="1"/>
        </p:nvSpPr>
        <p:spPr>
          <a:xfrm>
            <a:off x="839788" y="892224"/>
            <a:ext cx="10512425" cy="50703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rgbClr val="FFFFFF"/>
              </a:solidFill>
              <a:latin typeface="Verdana" panose="020B0604030504040204" pitchFamily="34" charset="0"/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="" xmlns:a16="http://schemas.microsoft.com/office/drawing/2014/main" id="{8E783730-DAB5-4B1C-8418-9D02358DC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3797" y="1596231"/>
            <a:ext cx="9104406" cy="3662363"/>
          </a:xfrm>
        </p:spPr>
        <p:txBody>
          <a:bodyPr anchor="ctr"/>
          <a:lstStyle>
            <a:lvl1pPr algn="ctr">
              <a:defRPr sz="8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en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86725968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vand, udendørs, ocean, strand&#10;&#10;Automatisk genereret beskrivelse">
            <a:extLst>
              <a:ext uri="{FF2B5EF4-FFF2-40B4-BE49-F238E27FC236}">
                <a16:creationId xmlns="" xmlns:a16="http://schemas.microsoft.com/office/drawing/2014/main" id="{D464D6A2-1C80-4F49-96D5-6482DD6D57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2889" b="2697"/>
          <a:stretch/>
        </p:blipFill>
        <p:spPr>
          <a:xfrm>
            <a:off x="0" y="-3175"/>
            <a:ext cx="12192000" cy="6861175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="" xmlns:a16="http://schemas.microsoft.com/office/drawing/2014/main" id="{EE02B37B-4CBF-4551-8679-FF525438EEB2}"/>
              </a:ext>
            </a:extLst>
          </p:cNvPr>
          <p:cNvSpPr/>
          <p:nvPr userDrawn="1"/>
        </p:nvSpPr>
        <p:spPr>
          <a:xfrm>
            <a:off x="839788" y="892224"/>
            <a:ext cx="10512425" cy="507037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rgbClr val="FFFFFF"/>
              </a:solidFill>
              <a:latin typeface="Verdana" panose="020B0604030504040204" pitchFamily="34" charset="0"/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="" xmlns:a16="http://schemas.microsoft.com/office/drawing/2014/main" id="{8E783730-DAB5-4B1C-8418-9D02358DC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3797" y="1596231"/>
            <a:ext cx="9104406" cy="3662363"/>
          </a:xfrm>
        </p:spPr>
        <p:txBody>
          <a:bodyPr anchor="ctr"/>
          <a:lstStyle>
            <a:lvl1pPr algn="ctr">
              <a:defRPr sz="8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en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92409283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vand, udendørs, ocean, strand&#10;&#10;Automatisk genereret beskrivelse">
            <a:extLst>
              <a:ext uri="{FF2B5EF4-FFF2-40B4-BE49-F238E27FC236}">
                <a16:creationId xmlns="" xmlns:a16="http://schemas.microsoft.com/office/drawing/2014/main" id="{D464D6A2-1C80-4F49-96D5-6482DD6D57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2889" b="2697"/>
          <a:stretch/>
        </p:blipFill>
        <p:spPr>
          <a:xfrm>
            <a:off x="0" y="-3175"/>
            <a:ext cx="12192000" cy="6861175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="" xmlns:a16="http://schemas.microsoft.com/office/drawing/2014/main" id="{EE02B37B-4CBF-4551-8679-FF525438EEB2}"/>
              </a:ext>
            </a:extLst>
          </p:cNvPr>
          <p:cNvSpPr/>
          <p:nvPr userDrawn="1"/>
        </p:nvSpPr>
        <p:spPr>
          <a:xfrm>
            <a:off x="839788" y="892224"/>
            <a:ext cx="10512425" cy="507037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rgbClr val="FFFFFF"/>
              </a:solidFill>
              <a:latin typeface="Verdana" panose="020B0604030504040204" pitchFamily="34" charset="0"/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="" xmlns:a16="http://schemas.microsoft.com/office/drawing/2014/main" id="{8E783730-DAB5-4B1C-8418-9D02358DC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3797" y="1596231"/>
            <a:ext cx="9104406" cy="3662363"/>
          </a:xfrm>
        </p:spPr>
        <p:txBody>
          <a:bodyPr anchor="ctr"/>
          <a:lstStyle>
            <a:lvl1pPr algn="ctr">
              <a:defRPr sz="80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en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2487158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 yell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 descr="Et billede, der indeholder vand, udendørs, ocean, strand&#10;&#10;Automatisk genereret beskrivelse">
            <a:extLst>
              <a:ext uri="{FF2B5EF4-FFF2-40B4-BE49-F238E27FC236}">
                <a16:creationId xmlns="" xmlns:a16="http://schemas.microsoft.com/office/drawing/2014/main" id="{D464D6A2-1C80-4F49-96D5-6482DD6D57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12889" b="2697"/>
          <a:stretch/>
        </p:blipFill>
        <p:spPr>
          <a:xfrm>
            <a:off x="0" y="-3175"/>
            <a:ext cx="12192000" cy="6861175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="" xmlns:a16="http://schemas.microsoft.com/office/drawing/2014/main" id="{EE02B37B-4CBF-4551-8679-FF525438EEB2}"/>
              </a:ext>
            </a:extLst>
          </p:cNvPr>
          <p:cNvSpPr/>
          <p:nvPr userDrawn="1"/>
        </p:nvSpPr>
        <p:spPr>
          <a:xfrm>
            <a:off x="839788" y="892224"/>
            <a:ext cx="10512425" cy="507037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rgbClr val="FFFFFF"/>
              </a:solidFill>
              <a:latin typeface="Verdana" panose="020B0604030504040204" pitchFamily="34" charset="0"/>
            </a:endParaRPr>
          </a:p>
        </p:txBody>
      </p:sp>
      <p:sp>
        <p:nvSpPr>
          <p:cNvPr id="12" name="Titel 11">
            <a:extLst>
              <a:ext uri="{FF2B5EF4-FFF2-40B4-BE49-F238E27FC236}">
                <a16:creationId xmlns="" xmlns:a16="http://schemas.microsoft.com/office/drawing/2014/main" id="{8E783730-DAB5-4B1C-8418-9D02358DC92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43797" y="1596231"/>
            <a:ext cx="9104406" cy="3662363"/>
          </a:xfrm>
        </p:spPr>
        <p:txBody>
          <a:bodyPr anchor="ctr"/>
          <a:lstStyle>
            <a:lvl1pPr algn="ctr">
              <a:defRPr sz="80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redigere i masteren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8089116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with single column bod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C2F37F11-2D52-4716-98A4-8DA4A1ED5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893812"/>
            <a:ext cx="6416689" cy="1366838"/>
          </a:xfr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i masteren</a:t>
            </a:r>
            <a:endParaRPr lang="da-DK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="" xmlns:a16="http://schemas.microsoft.com/office/drawing/2014/main" id="{81414D25-3F08-458F-9398-1559378E5B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2542837"/>
            <a:ext cx="6416689" cy="3121787"/>
          </a:xfrm>
        </p:spPr>
        <p:txBody>
          <a:bodyPr/>
          <a:lstStyle>
            <a:lvl1pPr marL="0" indent="0">
              <a:buNone/>
              <a:defRPr/>
            </a:lvl1pPr>
            <a:lvl2pPr marL="2322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8" name="Pladsholder til slidenummer 5">
            <a:extLst>
              <a:ext uri="{FF2B5EF4-FFF2-40B4-BE49-F238E27FC236}">
                <a16:creationId xmlns="" xmlns:a16="http://schemas.microsoft.com/office/drawing/2014/main" id="{CD9FCCF7-99B7-9743-80BF-EC0B6F1E74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588" y="6380955"/>
            <a:ext cx="324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2906F29B-0E9E-4576-AEC9-0657A7532060}" type="slidenum">
              <a:rPr lang="da-DK" smtClean="0">
                <a:solidFill>
                  <a:srgbClr val="F7232C"/>
                </a:solidFill>
              </a:rPr>
              <a:pPr/>
              <a:t>‹nr.›</a:t>
            </a:fld>
            <a:endParaRPr lang="da-DK" dirty="0">
              <a:solidFill>
                <a:srgbClr val="F7232C"/>
              </a:solidFill>
            </a:endParaRPr>
          </a:p>
        </p:txBody>
      </p:sp>
      <p:sp>
        <p:nvSpPr>
          <p:cNvPr id="9" name="Pladsholder til sidefod 4">
            <a:extLst>
              <a:ext uri="{FF2B5EF4-FFF2-40B4-BE49-F238E27FC236}">
                <a16:creationId xmlns="" xmlns:a16="http://schemas.microsoft.com/office/drawing/2014/main" id="{54FD86A2-565B-9A46-99B8-FF137C54DC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cap="all" baseline="0">
                <a:solidFill>
                  <a:schemeClr val="tx1"/>
                </a:solidFill>
              </a:defRPr>
            </a:lvl1pPr>
          </a:lstStyle>
          <a:p>
            <a:r>
              <a:rPr lang="da-DK" dirty="0">
                <a:solidFill>
                  <a:srgbClr val="000000"/>
                </a:solidFill>
              </a:rPr>
              <a:t>Fælles introduktionsmøde for bestyrelserne i </a:t>
            </a:r>
            <a:r>
              <a:rPr lang="da-DK" dirty="0" err="1">
                <a:solidFill>
                  <a:srgbClr val="000000"/>
                </a:solidFill>
              </a:rPr>
              <a:t>Norlys</a:t>
            </a:r>
            <a:r>
              <a:rPr lang="da-DK" dirty="0">
                <a:solidFill>
                  <a:srgbClr val="000000"/>
                </a:solidFill>
              </a:rPr>
              <a:t> Vækstpulje</a:t>
            </a:r>
          </a:p>
        </p:txBody>
      </p:sp>
      <p:sp>
        <p:nvSpPr>
          <p:cNvPr id="10" name="Pladsholder til dato 3">
            <a:extLst>
              <a:ext uri="{FF2B5EF4-FFF2-40B4-BE49-F238E27FC236}">
                <a16:creationId xmlns="" xmlns:a16="http://schemas.microsoft.com/office/drawing/2014/main" id="{2F715CA2-AE56-A94D-9B30-9CB00DF61DF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85377" y="6380955"/>
            <a:ext cx="720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C1EF374-20B7-B84E-BC46-386CEF4B23B8}" type="datetime1">
              <a:rPr lang="da-DK" smtClean="0">
                <a:solidFill>
                  <a:srgbClr val="000000"/>
                </a:solidFill>
              </a:rPr>
              <a:pPr/>
              <a:t>26-10-2020</a:t>
            </a:fld>
            <a:endParaRPr lang="da-DK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302469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with single bullete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C2F37F11-2D52-4716-98A4-8DA4A1ED5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893812"/>
            <a:ext cx="6416689" cy="1366838"/>
          </a:xfr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i masteren</a:t>
            </a:r>
            <a:endParaRPr lang="da-DK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="" xmlns:a16="http://schemas.microsoft.com/office/drawing/2014/main" id="{81414D25-3F08-458F-9398-1559378E5B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2542837"/>
            <a:ext cx="6416689" cy="3121787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slidenummer 5">
            <a:extLst>
              <a:ext uri="{FF2B5EF4-FFF2-40B4-BE49-F238E27FC236}">
                <a16:creationId xmlns="" xmlns:a16="http://schemas.microsoft.com/office/drawing/2014/main" id="{FDDD9CF2-B9A2-8942-B344-38F3E14692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588" y="6380955"/>
            <a:ext cx="324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2906F29B-0E9E-4576-AEC9-0657A7532060}" type="slidenum">
              <a:rPr lang="da-DK" smtClean="0">
                <a:solidFill>
                  <a:srgbClr val="F7232C"/>
                </a:solidFill>
              </a:rPr>
              <a:pPr/>
              <a:t>‹nr.›</a:t>
            </a:fld>
            <a:endParaRPr lang="da-DK" dirty="0">
              <a:solidFill>
                <a:srgbClr val="F7232C"/>
              </a:solidFill>
            </a:endParaRPr>
          </a:p>
        </p:txBody>
      </p:sp>
      <p:sp>
        <p:nvSpPr>
          <p:cNvPr id="9" name="Pladsholder til sidefod 4">
            <a:extLst>
              <a:ext uri="{FF2B5EF4-FFF2-40B4-BE49-F238E27FC236}">
                <a16:creationId xmlns="" xmlns:a16="http://schemas.microsoft.com/office/drawing/2014/main" id="{3F95EAD2-6B04-A240-9A4D-42D8CA2DDD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cap="all" baseline="0">
                <a:solidFill>
                  <a:schemeClr val="tx1"/>
                </a:solidFill>
              </a:defRPr>
            </a:lvl1pPr>
          </a:lstStyle>
          <a:p>
            <a:r>
              <a:rPr lang="da-DK" dirty="0">
                <a:solidFill>
                  <a:srgbClr val="000000"/>
                </a:solidFill>
              </a:rPr>
              <a:t>Fælles introduktionsmøde for bestyrelserne i </a:t>
            </a:r>
            <a:r>
              <a:rPr lang="da-DK" dirty="0" err="1">
                <a:solidFill>
                  <a:srgbClr val="000000"/>
                </a:solidFill>
              </a:rPr>
              <a:t>Norlys</a:t>
            </a:r>
            <a:r>
              <a:rPr lang="da-DK" dirty="0">
                <a:solidFill>
                  <a:srgbClr val="000000"/>
                </a:solidFill>
              </a:rPr>
              <a:t> Vækstpulje</a:t>
            </a:r>
          </a:p>
        </p:txBody>
      </p:sp>
      <p:sp>
        <p:nvSpPr>
          <p:cNvPr id="10" name="Pladsholder til dato 3">
            <a:extLst>
              <a:ext uri="{FF2B5EF4-FFF2-40B4-BE49-F238E27FC236}">
                <a16:creationId xmlns="" xmlns:a16="http://schemas.microsoft.com/office/drawing/2014/main" id="{EC8A5EEE-1E69-4A47-B138-AA72FAC32F0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85377" y="6380955"/>
            <a:ext cx="720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C1EF374-20B7-B84E-BC46-386CEF4B23B8}" type="datetime1">
              <a:rPr lang="da-DK" smtClean="0">
                <a:solidFill>
                  <a:srgbClr val="000000"/>
                </a:solidFill>
              </a:rPr>
              <a:pPr/>
              <a:t>26-10-2020</a:t>
            </a:fld>
            <a:endParaRPr lang="da-DK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723736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with two body text 22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C2F37F11-2D52-4716-98A4-8DA4A1ED5A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12" name="Pladsholder til tekst 11">
            <a:extLst>
              <a:ext uri="{FF2B5EF4-FFF2-40B4-BE49-F238E27FC236}">
                <a16:creationId xmlns="" xmlns:a16="http://schemas.microsoft.com/office/drawing/2014/main" id="{46C58602-B25F-46A3-A96F-AECF9CF079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2542837"/>
            <a:ext cx="5002213" cy="3121787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5" name="Pladsholder til tekst 14">
            <a:extLst>
              <a:ext uri="{FF2B5EF4-FFF2-40B4-BE49-F238E27FC236}">
                <a16:creationId xmlns="" xmlns:a16="http://schemas.microsoft.com/office/drawing/2014/main" id="{0AE3C9AC-CCDA-4FF2-BAE4-9EF8F63FD7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49997" y="2542837"/>
            <a:ext cx="5002213" cy="3121787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slidenummer 5">
            <a:extLst>
              <a:ext uri="{FF2B5EF4-FFF2-40B4-BE49-F238E27FC236}">
                <a16:creationId xmlns="" xmlns:a16="http://schemas.microsoft.com/office/drawing/2014/main" id="{F58B3B23-AB30-C348-9E0B-959D34A00A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588" y="6380955"/>
            <a:ext cx="324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2906F29B-0E9E-4576-AEC9-0657A7532060}" type="slidenum">
              <a:rPr lang="da-DK" smtClean="0">
                <a:solidFill>
                  <a:srgbClr val="F7232C"/>
                </a:solidFill>
              </a:rPr>
              <a:pPr/>
              <a:t>‹nr.›</a:t>
            </a:fld>
            <a:endParaRPr lang="da-DK" dirty="0">
              <a:solidFill>
                <a:srgbClr val="F7232C"/>
              </a:solidFill>
            </a:endParaRPr>
          </a:p>
        </p:txBody>
      </p:sp>
      <p:sp>
        <p:nvSpPr>
          <p:cNvPr id="9" name="Pladsholder til sidefod 4">
            <a:extLst>
              <a:ext uri="{FF2B5EF4-FFF2-40B4-BE49-F238E27FC236}">
                <a16:creationId xmlns="" xmlns:a16="http://schemas.microsoft.com/office/drawing/2014/main" id="{E4520277-33D3-7844-B2E2-922CFDC877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cap="all" baseline="0">
                <a:solidFill>
                  <a:schemeClr val="tx1"/>
                </a:solidFill>
              </a:defRPr>
            </a:lvl1pPr>
          </a:lstStyle>
          <a:p>
            <a:r>
              <a:rPr lang="da-DK" dirty="0">
                <a:solidFill>
                  <a:srgbClr val="000000"/>
                </a:solidFill>
              </a:rPr>
              <a:t>Fælles introduktionsmøde for bestyrelserne i </a:t>
            </a:r>
            <a:r>
              <a:rPr lang="da-DK" dirty="0" err="1">
                <a:solidFill>
                  <a:srgbClr val="000000"/>
                </a:solidFill>
              </a:rPr>
              <a:t>Norlys</a:t>
            </a:r>
            <a:r>
              <a:rPr lang="da-DK" dirty="0">
                <a:solidFill>
                  <a:srgbClr val="000000"/>
                </a:solidFill>
              </a:rPr>
              <a:t> Vækstpulje</a:t>
            </a:r>
          </a:p>
        </p:txBody>
      </p:sp>
      <p:sp>
        <p:nvSpPr>
          <p:cNvPr id="10" name="Pladsholder til dato 3">
            <a:extLst>
              <a:ext uri="{FF2B5EF4-FFF2-40B4-BE49-F238E27FC236}">
                <a16:creationId xmlns="" xmlns:a16="http://schemas.microsoft.com/office/drawing/2014/main" id="{E1ADFB73-E625-5141-BC9E-277BBC4DD0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85377" y="6380955"/>
            <a:ext cx="720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C1EF374-20B7-B84E-BC46-386CEF4B23B8}" type="datetime1">
              <a:rPr lang="da-DK" smtClean="0">
                <a:solidFill>
                  <a:srgbClr val="000000"/>
                </a:solidFill>
              </a:rPr>
              <a:pPr/>
              <a:t>26-10-2020</a:t>
            </a:fld>
            <a:endParaRPr lang="da-DK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134832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with two body text 18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C2F37F11-2D52-4716-98A4-8DA4A1ED5A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/>
              <a:t>Klik for at redigere i masteren</a:t>
            </a:r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="" xmlns:a16="http://schemas.microsoft.com/office/drawing/2014/main" id="{46C58602-B25F-46A3-A96F-AECF9CF079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9788" y="2542837"/>
            <a:ext cx="5002213" cy="3121787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5" name="Pladsholder til tekst 14">
            <a:extLst>
              <a:ext uri="{FF2B5EF4-FFF2-40B4-BE49-F238E27FC236}">
                <a16:creationId xmlns="" xmlns:a16="http://schemas.microsoft.com/office/drawing/2014/main" id="{0AE3C9AC-CCDA-4FF2-BAE4-9EF8F63FD7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349997" y="2542837"/>
            <a:ext cx="5002213" cy="3121787"/>
          </a:xfrm>
        </p:spPr>
        <p:txBody>
          <a:bodyPr/>
          <a:lstStyle>
            <a:lvl1pPr>
              <a:defRPr sz="18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slidenummer 5">
            <a:extLst>
              <a:ext uri="{FF2B5EF4-FFF2-40B4-BE49-F238E27FC236}">
                <a16:creationId xmlns="" xmlns:a16="http://schemas.microsoft.com/office/drawing/2014/main" id="{99DF52CC-55E4-3C4C-9478-CEF9272DBF2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588" y="6380955"/>
            <a:ext cx="324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2906F29B-0E9E-4576-AEC9-0657A7532060}" type="slidenum">
              <a:rPr lang="da-DK" smtClean="0">
                <a:solidFill>
                  <a:srgbClr val="F7232C"/>
                </a:solidFill>
              </a:rPr>
              <a:pPr/>
              <a:t>‹nr.›</a:t>
            </a:fld>
            <a:endParaRPr lang="da-DK" dirty="0">
              <a:solidFill>
                <a:srgbClr val="F7232C"/>
              </a:solidFill>
            </a:endParaRPr>
          </a:p>
        </p:txBody>
      </p:sp>
      <p:sp>
        <p:nvSpPr>
          <p:cNvPr id="9" name="Pladsholder til sidefod 4">
            <a:extLst>
              <a:ext uri="{FF2B5EF4-FFF2-40B4-BE49-F238E27FC236}">
                <a16:creationId xmlns="" xmlns:a16="http://schemas.microsoft.com/office/drawing/2014/main" id="{0110EC8F-4781-E44B-8B3E-03AF44D69B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cap="all" baseline="0">
                <a:solidFill>
                  <a:schemeClr val="tx1"/>
                </a:solidFill>
              </a:defRPr>
            </a:lvl1pPr>
          </a:lstStyle>
          <a:p>
            <a:r>
              <a:rPr lang="da-DK" dirty="0">
                <a:solidFill>
                  <a:srgbClr val="000000"/>
                </a:solidFill>
              </a:rPr>
              <a:t>Fælles introduktionsmøde for bestyrelserne i </a:t>
            </a:r>
            <a:r>
              <a:rPr lang="da-DK" dirty="0" err="1">
                <a:solidFill>
                  <a:srgbClr val="000000"/>
                </a:solidFill>
              </a:rPr>
              <a:t>Norlys</a:t>
            </a:r>
            <a:r>
              <a:rPr lang="da-DK" dirty="0">
                <a:solidFill>
                  <a:srgbClr val="000000"/>
                </a:solidFill>
              </a:rPr>
              <a:t> Vækstpulje</a:t>
            </a:r>
          </a:p>
        </p:txBody>
      </p:sp>
      <p:sp>
        <p:nvSpPr>
          <p:cNvPr id="10" name="Pladsholder til dato 3">
            <a:extLst>
              <a:ext uri="{FF2B5EF4-FFF2-40B4-BE49-F238E27FC236}">
                <a16:creationId xmlns="" xmlns:a16="http://schemas.microsoft.com/office/drawing/2014/main" id="{1FB8A770-3794-B344-B584-9927F896D7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85377" y="6380955"/>
            <a:ext cx="720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C1EF374-20B7-B84E-BC46-386CEF4B23B8}" type="datetime1">
              <a:rPr lang="da-DK" smtClean="0">
                <a:solidFill>
                  <a:srgbClr val="000000"/>
                </a:solidFill>
              </a:rPr>
              <a:pPr/>
              <a:t>26-10-2020</a:t>
            </a:fld>
            <a:endParaRPr lang="da-DK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409086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 on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="" xmlns:a16="http://schemas.microsoft.com/office/drawing/2014/main" id="{4E58E559-38A6-47B2-93A9-98DE7FF2D973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0375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rgbClr val="FFFFFF"/>
              </a:solidFill>
              <a:latin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C2F37F11-2D52-4716-98A4-8DA4A1ED5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0550" y="1224012"/>
            <a:ext cx="4235650" cy="1366838"/>
          </a:xfrm>
        </p:spPr>
        <p:txBody>
          <a:bodyPr/>
          <a:lstStyle>
            <a:lvl1pPr>
              <a:defRPr sz="3600"/>
            </a:lvl1pPr>
          </a:lstStyle>
          <a:p>
            <a:r>
              <a:rPr lang="da-DK"/>
              <a:t>Klik for at redigere i masteren</a:t>
            </a:r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="" xmlns:a16="http://schemas.microsoft.com/office/drawing/2014/main" id="{46C58602-B25F-46A3-A96F-AECF9CF079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20550" y="2887579"/>
            <a:ext cx="4241800" cy="2834795"/>
          </a:xfrm>
        </p:spPr>
        <p:txBody>
          <a:bodyPr/>
          <a:lstStyle>
            <a:lvl1pPr marL="0" indent="0">
              <a:buNone/>
              <a:defRPr sz="22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5" name="Pladsholder til tekst 14">
            <a:extLst>
              <a:ext uri="{FF2B5EF4-FFF2-40B4-BE49-F238E27FC236}">
                <a16:creationId xmlns="" xmlns:a16="http://schemas.microsoft.com/office/drawing/2014/main" id="{0AE3C9AC-CCDA-4FF2-BAE4-9EF8F63FD7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10400" y="1224014"/>
            <a:ext cx="4241800" cy="3090812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buNone/>
              <a:defRPr sz="3600" b="0" i="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="" xmlns:a16="http://schemas.microsoft.com/office/drawing/2014/main" id="{61438D53-40DF-4940-ABCD-341D31DEF8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10400" y="4724400"/>
            <a:ext cx="4241800" cy="997974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="" xmlns:a16="http://schemas.microsoft.com/office/drawing/2014/main" id="{C768F03C-2E88-E447-8630-051AD428170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4" name="Pladsholder til slidenummer 5">
            <a:extLst>
              <a:ext uri="{FF2B5EF4-FFF2-40B4-BE49-F238E27FC236}">
                <a16:creationId xmlns="" xmlns:a16="http://schemas.microsoft.com/office/drawing/2014/main" id="{1F426E10-D408-4642-A0F5-6767EA48BD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588" y="6380955"/>
            <a:ext cx="324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2906F29B-0E9E-4576-AEC9-0657A7532060}" type="slidenum">
              <a:rPr lang="da-DK" smtClean="0">
                <a:solidFill>
                  <a:srgbClr val="F7232C"/>
                </a:solidFill>
              </a:rPr>
              <a:pPr/>
              <a:t>‹nr.›</a:t>
            </a:fld>
            <a:endParaRPr lang="da-DK" dirty="0">
              <a:solidFill>
                <a:srgbClr val="F7232C"/>
              </a:solidFill>
            </a:endParaRPr>
          </a:p>
        </p:txBody>
      </p:sp>
      <p:sp>
        <p:nvSpPr>
          <p:cNvPr id="16" name="Pladsholder til sidefod 4">
            <a:extLst>
              <a:ext uri="{FF2B5EF4-FFF2-40B4-BE49-F238E27FC236}">
                <a16:creationId xmlns="" xmlns:a16="http://schemas.microsoft.com/office/drawing/2014/main" id="{DAAEBBCB-4C79-C746-A48D-41C4668A60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cap="all" baseline="0">
                <a:solidFill>
                  <a:schemeClr val="tx1"/>
                </a:solidFill>
              </a:defRPr>
            </a:lvl1pPr>
          </a:lstStyle>
          <a:p>
            <a:r>
              <a:rPr lang="da-DK" dirty="0">
                <a:solidFill>
                  <a:srgbClr val="000000"/>
                </a:solidFill>
              </a:rPr>
              <a:t>Fælles introduktionsmøde for bestyrelserne i </a:t>
            </a:r>
            <a:r>
              <a:rPr lang="da-DK" dirty="0" err="1">
                <a:solidFill>
                  <a:srgbClr val="000000"/>
                </a:solidFill>
              </a:rPr>
              <a:t>Norlys</a:t>
            </a:r>
            <a:r>
              <a:rPr lang="da-DK" dirty="0">
                <a:solidFill>
                  <a:srgbClr val="000000"/>
                </a:solidFill>
              </a:rPr>
              <a:t> Vækstpulje</a:t>
            </a:r>
          </a:p>
        </p:txBody>
      </p:sp>
      <p:sp>
        <p:nvSpPr>
          <p:cNvPr id="17" name="Pladsholder til dato 3">
            <a:extLst>
              <a:ext uri="{FF2B5EF4-FFF2-40B4-BE49-F238E27FC236}">
                <a16:creationId xmlns="" xmlns:a16="http://schemas.microsoft.com/office/drawing/2014/main" id="{A15C4F07-0097-2E40-95BE-E71A5368D38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85377" y="6380955"/>
            <a:ext cx="720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C1EF374-20B7-B84E-BC46-386CEF4B23B8}" type="datetime1">
              <a:rPr lang="da-DK" smtClean="0">
                <a:solidFill>
                  <a:srgbClr val="000000"/>
                </a:solidFill>
              </a:rPr>
              <a:pPr/>
              <a:t>26-10-2020</a:t>
            </a:fld>
            <a:endParaRPr lang="da-DK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42414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CDF246-3A21-4EE2-ACF6-56C0200E008B}" type="datetimeFigureOut">
              <a:rPr lang="da-DK" smtClean="0"/>
              <a:t>26-10-2020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9A41D-7102-4A03-B33F-93E7F5EC502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3257233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 on red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="" xmlns:a16="http://schemas.microsoft.com/office/drawing/2014/main" id="{4E58E559-38A6-47B2-93A9-98DE7FF2D973}"/>
              </a:ext>
            </a:extLst>
          </p:cNvPr>
          <p:cNvSpPr/>
          <p:nvPr userDrawn="1"/>
        </p:nvSpPr>
        <p:spPr>
          <a:xfrm>
            <a:off x="6096000" y="1"/>
            <a:ext cx="6096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rgbClr val="FFFFFF"/>
              </a:solidFill>
              <a:latin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C2F37F11-2D52-4716-98A4-8DA4A1ED5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0551" y="1224012"/>
            <a:ext cx="4235649" cy="1366838"/>
          </a:xfrm>
        </p:spPr>
        <p:txBody>
          <a:bodyPr/>
          <a:lstStyle>
            <a:lvl1pPr>
              <a:defRPr sz="3600"/>
            </a:lvl1pPr>
          </a:lstStyle>
          <a:p>
            <a:r>
              <a:rPr lang="da-DK"/>
              <a:t>Klik for at redigere i masteren</a:t>
            </a:r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="" xmlns:a16="http://schemas.microsoft.com/office/drawing/2014/main" id="{46C58602-B25F-46A3-A96F-AECF9CF079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20550" y="2887579"/>
            <a:ext cx="4241800" cy="2834795"/>
          </a:xfrm>
        </p:spPr>
        <p:txBody>
          <a:bodyPr/>
          <a:lstStyle>
            <a:lvl1pPr marL="0" indent="0">
              <a:buNone/>
              <a:defRPr sz="22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5" name="Pladsholder til tekst 14">
            <a:extLst>
              <a:ext uri="{FF2B5EF4-FFF2-40B4-BE49-F238E27FC236}">
                <a16:creationId xmlns="" xmlns:a16="http://schemas.microsoft.com/office/drawing/2014/main" id="{0AE3C9AC-CCDA-4FF2-BAE4-9EF8F63FD7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10400" y="1224014"/>
            <a:ext cx="4241800" cy="3090812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buNone/>
              <a:defRPr sz="3600" b="0" i="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="" xmlns:a16="http://schemas.microsoft.com/office/drawing/2014/main" id="{61438D53-40DF-4940-ABCD-341D31DEF8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10400" y="4724400"/>
            <a:ext cx="4241800" cy="997974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="" xmlns:a16="http://schemas.microsoft.com/office/drawing/2014/main" id="{85504160-017D-AE4F-83FE-41D7C6706C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8" name="Pladsholder til slidenummer 5">
            <a:extLst>
              <a:ext uri="{FF2B5EF4-FFF2-40B4-BE49-F238E27FC236}">
                <a16:creationId xmlns="" xmlns:a16="http://schemas.microsoft.com/office/drawing/2014/main" id="{1336BED9-23C0-B742-AA04-9DFF0AE9DC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588" y="6380955"/>
            <a:ext cx="324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2906F29B-0E9E-4576-AEC9-0657A7532060}" type="slidenum">
              <a:rPr lang="da-DK" smtClean="0">
                <a:solidFill>
                  <a:srgbClr val="F7232C"/>
                </a:solidFill>
              </a:rPr>
              <a:pPr/>
              <a:t>‹nr.›</a:t>
            </a:fld>
            <a:endParaRPr lang="da-DK" dirty="0">
              <a:solidFill>
                <a:srgbClr val="F7232C"/>
              </a:solidFill>
            </a:endParaRPr>
          </a:p>
        </p:txBody>
      </p:sp>
      <p:sp>
        <p:nvSpPr>
          <p:cNvPr id="19" name="Pladsholder til sidefod 4">
            <a:extLst>
              <a:ext uri="{FF2B5EF4-FFF2-40B4-BE49-F238E27FC236}">
                <a16:creationId xmlns="" xmlns:a16="http://schemas.microsoft.com/office/drawing/2014/main" id="{6F62FA3A-8290-B749-8C04-0CD70358743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cap="all" baseline="0">
                <a:solidFill>
                  <a:schemeClr val="tx1"/>
                </a:solidFill>
              </a:defRPr>
            </a:lvl1pPr>
          </a:lstStyle>
          <a:p>
            <a:r>
              <a:rPr lang="da-DK" dirty="0">
                <a:solidFill>
                  <a:srgbClr val="000000"/>
                </a:solidFill>
              </a:rPr>
              <a:t>Fælles introduktionsmøde for bestyrelserne i </a:t>
            </a:r>
            <a:r>
              <a:rPr lang="da-DK" dirty="0" err="1">
                <a:solidFill>
                  <a:srgbClr val="000000"/>
                </a:solidFill>
              </a:rPr>
              <a:t>Norlys</a:t>
            </a:r>
            <a:r>
              <a:rPr lang="da-DK" dirty="0">
                <a:solidFill>
                  <a:srgbClr val="000000"/>
                </a:solidFill>
              </a:rPr>
              <a:t> Vækstpulje</a:t>
            </a:r>
          </a:p>
        </p:txBody>
      </p:sp>
      <p:sp>
        <p:nvSpPr>
          <p:cNvPr id="20" name="Pladsholder til dato 3">
            <a:extLst>
              <a:ext uri="{FF2B5EF4-FFF2-40B4-BE49-F238E27FC236}">
                <a16:creationId xmlns="" xmlns:a16="http://schemas.microsoft.com/office/drawing/2014/main" id="{C9437D8A-4220-0943-99B8-6E45006CAB8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85377" y="6380955"/>
            <a:ext cx="720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C1EF374-20B7-B84E-BC46-386CEF4B23B8}" type="datetime1">
              <a:rPr lang="da-DK" smtClean="0">
                <a:solidFill>
                  <a:srgbClr val="000000"/>
                </a:solidFill>
              </a:rPr>
              <a:pPr/>
              <a:t>26-10-2020</a:t>
            </a:fld>
            <a:endParaRPr lang="da-DK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0147620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adline with body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C2F37F11-2D52-4716-98A4-8DA4A1ED5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0552" y="1224012"/>
            <a:ext cx="4235649" cy="1366838"/>
          </a:xfrm>
        </p:spPr>
        <p:txBody>
          <a:bodyPr/>
          <a:lstStyle>
            <a:lvl1pPr>
              <a:defRPr sz="3600"/>
            </a:lvl1pPr>
          </a:lstStyle>
          <a:p>
            <a:r>
              <a:rPr lang="da-DK"/>
              <a:t>Klik for at redigere i masteren</a:t>
            </a:r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="" xmlns:a16="http://schemas.microsoft.com/office/drawing/2014/main" id="{46C58602-B25F-46A3-A96F-AECF9CF079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20550" y="2887579"/>
            <a:ext cx="4241800" cy="2834795"/>
          </a:xfrm>
        </p:spPr>
        <p:txBody>
          <a:bodyPr/>
          <a:lstStyle>
            <a:lvl1pPr marL="0" indent="0">
              <a:buNone/>
              <a:defRPr sz="22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="" xmlns:a16="http://schemas.microsoft.com/office/drawing/2014/main" id="{6E710DEF-5968-41E5-909C-1FE1843B2F6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096000" y="0"/>
            <a:ext cx="6096000" cy="6857143"/>
          </a:xfrm>
          <a:solidFill>
            <a:schemeClr val="bg1">
              <a:lumMod val="95000"/>
            </a:schemeClr>
          </a:solidFill>
        </p:spPr>
        <p:txBody>
          <a:bodyPr tIns="2700000" anchor="t" anchorCtr="1"/>
          <a:lstStyle>
            <a:lvl1pPr marL="0" indent="0">
              <a:buNone/>
              <a:defRPr/>
            </a:lvl1pPr>
          </a:lstStyle>
          <a:p>
            <a:r>
              <a:rPr lang="da-DK"/>
              <a:t>Træk billede til pladsholder, eller klik på symbol for at tilføje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="" xmlns:a16="http://schemas.microsoft.com/office/drawing/2014/main" id="{1E628C51-259F-7B48-951F-D98E97399D0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3" name="Pladsholder til slidenummer 5">
            <a:extLst>
              <a:ext uri="{FF2B5EF4-FFF2-40B4-BE49-F238E27FC236}">
                <a16:creationId xmlns="" xmlns:a16="http://schemas.microsoft.com/office/drawing/2014/main" id="{FCC865BA-3A54-E443-A91E-75F8946BB9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588" y="6380955"/>
            <a:ext cx="324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2906F29B-0E9E-4576-AEC9-0657A7532060}" type="slidenum">
              <a:rPr lang="da-DK" smtClean="0">
                <a:solidFill>
                  <a:srgbClr val="F7232C"/>
                </a:solidFill>
              </a:rPr>
              <a:pPr/>
              <a:t>‹nr.›</a:t>
            </a:fld>
            <a:endParaRPr lang="da-DK" dirty="0">
              <a:solidFill>
                <a:srgbClr val="F7232C"/>
              </a:solidFill>
            </a:endParaRPr>
          </a:p>
        </p:txBody>
      </p:sp>
      <p:sp>
        <p:nvSpPr>
          <p:cNvPr id="14" name="Pladsholder til sidefod 4">
            <a:extLst>
              <a:ext uri="{FF2B5EF4-FFF2-40B4-BE49-F238E27FC236}">
                <a16:creationId xmlns="" xmlns:a16="http://schemas.microsoft.com/office/drawing/2014/main" id="{B731EC1E-30C5-574C-9D60-7225BA242F7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cap="all" baseline="0">
                <a:solidFill>
                  <a:schemeClr val="tx1"/>
                </a:solidFill>
              </a:defRPr>
            </a:lvl1pPr>
          </a:lstStyle>
          <a:p>
            <a:r>
              <a:rPr lang="da-DK" dirty="0">
                <a:solidFill>
                  <a:srgbClr val="000000"/>
                </a:solidFill>
              </a:rPr>
              <a:t>Fælles introduktionsmøde for bestyrelserne i </a:t>
            </a:r>
            <a:r>
              <a:rPr lang="da-DK" dirty="0" err="1">
                <a:solidFill>
                  <a:srgbClr val="000000"/>
                </a:solidFill>
              </a:rPr>
              <a:t>Norlys</a:t>
            </a:r>
            <a:r>
              <a:rPr lang="da-DK" dirty="0">
                <a:solidFill>
                  <a:srgbClr val="000000"/>
                </a:solidFill>
              </a:rPr>
              <a:t> Vækstpulje</a:t>
            </a:r>
          </a:p>
        </p:txBody>
      </p:sp>
      <p:sp>
        <p:nvSpPr>
          <p:cNvPr id="15" name="Pladsholder til dato 3">
            <a:extLst>
              <a:ext uri="{FF2B5EF4-FFF2-40B4-BE49-F238E27FC236}">
                <a16:creationId xmlns="" xmlns:a16="http://schemas.microsoft.com/office/drawing/2014/main" id="{3B2B17E0-476D-E746-8D5F-D8F6AB16FA9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85377" y="6380955"/>
            <a:ext cx="720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C1EF374-20B7-B84E-BC46-386CEF4B23B8}" type="datetime1">
              <a:rPr lang="da-DK" smtClean="0">
                <a:solidFill>
                  <a:srgbClr val="000000"/>
                </a:solidFill>
              </a:rPr>
              <a:pPr/>
              <a:t>26-10-2020</a:t>
            </a:fld>
            <a:endParaRPr lang="da-DK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659920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headlin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C2F37F11-2D52-4716-98A4-8DA4A1ED5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9619" y="1224012"/>
            <a:ext cx="4990726" cy="1366838"/>
          </a:xfrm>
        </p:spPr>
        <p:txBody>
          <a:bodyPr/>
          <a:lstStyle>
            <a:lvl1pPr>
              <a:defRPr sz="3600"/>
            </a:lvl1pPr>
          </a:lstStyle>
          <a:p>
            <a:r>
              <a:rPr lang="da-DK"/>
              <a:t>Klik for at redigere i masteren</a:t>
            </a:r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="" xmlns:a16="http://schemas.microsoft.com/office/drawing/2014/main" id="{46C58602-B25F-46A3-A96F-AECF9CF079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39621" y="2901344"/>
            <a:ext cx="4990727" cy="2976702"/>
          </a:xfrm>
        </p:spPr>
        <p:txBody>
          <a:bodyPr/>
          <a:lstStyle>
            <a:lvl1pPr marL="0" indent="0">
              <a:buNone/>
              <a:defRPr sz="22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="" xmlns:a16="http://schemas.microsoft.com/office/drawing/2014/main" id="{6E710DEF-5968-41E5-909C-1FE1843B2F6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62116" y="439978"/>
            <a:ext cx="4139381" cy="5476568"/>
          </a:xfrm>
          <a:solidFill>
            <a:schemeClr val="bg1">
              <a:lumMod val="95000"/>
            </a:schemeClr>
          </a:solidFill>
        </p:spPr>
        <p:txBody>
          <a:bodyPr tIns="2124000" anchor="t" anchorCtr="1"/>
          <a:lstStyle>
            <a:lvl1pPr marL="0" indent="0">
              <a:buNone/>
              <a:defRPr/>
            </a:lvl1pPr>
          </a:lstStyle>
          <a:p>
            <a:r>
              <a:rPr lang="da-DK"/>
              <a:t>Træk billede til pladsholder, eller klik på symbol for at tilføje</a:t>
            </a:r>
          </a:p>
        </p:txBody>
      </p:sp>
      <p:sp>
        <p:nvSpPr>
          <p:cNvPr id="8" name="Pladsholder til slidenummer 5">
            <a:extLst>
              <a:ext uri="{FF2B5EF4-FFF2-40B4-BE49-F238E27FC236}">
                <a16:creationId xmlns="" xmlns:a16="http://schemas.microsoft.com/office/drawing/2014/main" id="{95C86820-4057-4649-B0D3-09D014FAA5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588" y="6380955"/>
            <a:ext cx="324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2906F29B-0E9E-4576-AEC9-0657A7532060}" type="slidenum">
              <a:rPr lang="da-DK" smtClean="0">
                <a:solidFill>
                  <a:srgbClr val="F7232C"/>
                </a:solidFill>
              </a:rPr>
              <a:pPr/>
              <a:t>‹nr.›</a:t>
            </a:fld>
            <a:endParaRPr lang="da-DK" dirty="0">
              <a:solidFill>
                <a:srgbClr val="F7232C"/>
              </a:solidFill>
            </a:endParaRPr>
          </a:p>
        </p:txBody>
      </p:sp>
      <p:sp>
        <p:nvSpPr>
          <p:cNvPr id="9" name="Pladsholder til sidefod 4">
            <a:extLst>
              <a:ext uri="{FF2B5EF4-FFF2-40B4-BE49-F238E27FC236}">
                <a16:creationId xmlns="" xmlns:a16="http://schemas.microsoft.com/office/drawing/2014/main" id="{729A770F-62C0-984B-9EF9-EF7D12FC17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cap="all" baseline="0">
                <a:solidFill>
                  <a:schemeClr val="tx1"/>
                </a:solidFill>
              </a:defRPr>
            </a:lvl1pPr>
          </a:lstStyle>
          <a:p>
            <a:r>
              <a:rPr lang="da-DK" dirty="0">
                <a:solidFill>
                  <a:srgbClr val="000000"/>
                </a:solidFill>
              </a:rPr>
              <a:t>Fælles introduktionsmøde for bestyrelserne i </a:t>
            </a:r>
            <a:r>
              <a:rPr lang="da-DK" dirty="0" err="1">
                <a:solidFill>
                  <a:srgbClr val="000000"/>
                </a:solidFill>
              </a:rPr>
              <a:t>Norlys</a:t>
            </a:r>
            <a:r>
              <a:rPr lang="da-DK" dirty="0">
                <a:solidFill>
                  <a:srgbClr val="000000"/>
                </a:solidFill>
              </a:rPr>
              <a:t> Vækstpulje</a:t>
            </a:r>
          </a:p>
        </p:txBody>
      </p:sp>
      <p:sp>
        <p:nvSpPr>
          <p:cNvPr id="10" name="Pladsholder til dato 3">
            <a:extLst>
              <a:ext uri="{FF2B5EF4-FFF2-40B4-BE49-F238E27FC236}">
                <a16:creationId xmlns="" xmlns:a16="http://schemas.microsoft.com/office/drawing/2014/main" id="{8A76329F-A6D9-FA42-A6CE-F0BBEE63B01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85377" y="6380955"/>
            <a:ext cx="720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C1EF374-20B7-B84E-BC46-386CEF4B23B8}" type="datetime1">
              <a:rPr lang="da-DK" smtClean="0">
                <a:solidFill>
                  <a:srgbClr val="000000"/>
                </a:solidFill>
              </a:rPr>
              <a:pPr/>
              <a:t>26-10-2020</a:t>
            </a:fld>
            <a:endParaRPr lang="da-DK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065066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with headline and text, green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="" xmlns:a16="http://schemas.microsoft.com/office/drawing/2014/main" id="{557ECC2A-732D-48E7-8C1C-82A4CEECD73C}"/>
              </a:ext>
            </a:extLst>
          </p:cNvPr>
          <p:cNvSpPr/>
          <p:nvPr userDrawn="1"/>
        </p:nvSpPr>
        <p:spPr>
          <a:xfrm>
            <a:off x="932510" y="882445"/>
            <a:ext cx="4251365" cy="509311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rgbClr val="FFFFFF"/>
              </a:solidFill>
              <a:latin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C2F37F11-2D52-4716-98A4-8DA4A1ED5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5534" y="1224012"/>
            <a:ext cx="3205316" cy="1366838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en</a:t>
            </a:r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="" xmlns:a16="http://schemas.microsoft.com/office/drawing/2014/main" id="{46C58602-B25F-46A3-A96F-AECF9CF079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55534" y="2752651"/>
            <a:ext cx="3205316" cy="291034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1" name="Rectangle 2">
            <a:extLst>
              <a:ext uri="{FF2B5EF4-FFF2-40B4-BE49-F238E27FC236}">
                <a16:creationId xmlns="" xmlns:a16="http://schemas.microsoft.com/office/drawing/2014/main" id="{C707DD8D-0DC2-406D-AEA3-BA5363A9AD4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-383460"/>
            <a:ext cx="12192000" cy="34634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altLang="da-DK" sz="1200">
                <a:solidFill>
                  <a:srgbClr val="FFFFFF"/>
                </a:solidFill>
                <a:latin typeface="Verdana" panose="020B0604030504040204" pitchFamily="34" charset="0"/>
              </a:rPr>
              <a:t>Sådan ændres baggrundsbilledet - Højreklik på tom plads. Vælg Formater baggrund / udfyld / billede eller strukturel udfyldning, og vælg derefter det ønskede billede. 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="" xmlns:a16="http://schemas.microsoft.com/office/drawing/2014/main" id="{AFBB0918-D593-0143-877B-49393AF65AD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523230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with headline and text, red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="" xmlns:a16="http://schemas.microsoft.com/office/drawing/2014/main" id="{557ECC2A-732D-48E7-8C1C-82A4CEECD73C}"/>
              </a:ext>
            </a:extLst>
          </p:cNvPr>
          <p:cNvSpPr/>
          <p:nvPr userDrawn="1"/>
        </p:nvSpPr>
        <p:spPr>
          <a:xfrm>
            <a:off x="932511" y="882445"/>
            <a:ext cx="4251365" cy="509311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rgbClr val="FFFFFF"/>
              </a:solidFill>
              <a:latin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C2F37F11-2D52-4716-98A4-8DA4A1ED5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5536" y="1224012"/>
            <a:ext cx="3205316" cy="1366838"/>
          </a:xfrm>
        </p:spPr>
        <p:txBody>
          <a:bodyPr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en</a:t>
            </a:r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="" xmlns:a16="http://schemas.microsoft.com/office/drawing/2014/main" id="{46C58602-B25F-46A3-A96F-AECF9CF079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55536" y="2752651"/>
            <a:ext cx="3205316" cy="2910348"/>
          </a:xfrm>
        </p:spPr>
        <p:txBody>
          <a:bodyPr/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1" name="Rectangle 2">
            <a:extLst>
              <a:ext uri="{FF2B5EF4-FFF2-40B4-BE49-F238E27FC236}">
                <a16:creationId xmlns="" xmlns:a16="http://schemas.microsoft.com/office/drawing/2014/main" id="{C707DD8D-0DC2-406D-AEA3-BA5363A9AD4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-383460"/>
            <a:ext cx="12192000" cy="34634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altLang="da-DK" sz="1200">
                <a:solidFill>
                  <a:srgbClr val="FFFFFF"/>
                </a:solidFill>
                <a:latin typeface="Verdana" panose="020B0604030504040204" pitchFamily="34" charset="0"/>
              </a:rPr>
              <a:t>Sådan ændres baggrundsbilledet - Højreklik på tom plads. Vælg Formater baggrund / udfyld / billede eller strukturel udfyldning, og vælg derefter det ønskede billede. 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="" xmlns:a16="http://schemas.microsoft.com/office/drawing/2014/main" id="{B2343388-A450-7447-8F15-8EAA86C5EA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86271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with headline and text, yellow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="" xmlns:a16="http://schemas.microsoft.com/office/drawing/2014/main" id="{557ECC2A-732D-48E7-8C1C-82A4CEECD73C}"/>
              </a:ext>
            </a:extLst>
          </p:cNvPr>
          <p:cNvSpPr/>
          <p:nvPr userDrawn="1"/>
        </p:nvSpPr>
        <p:spPr>
          <a:xfrm>
            <a:off x="932511" y="882445"/>
            <a:ext cx="4251365" cy="509311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rgbClr val="FFFFFF"/>
              </a:solidFill>
              <a:latin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C2F37F11-2D52-4716-98A4-8DA4A1ED5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5536" y="1224012"/>
            <a:ext cx="3205316" cy="136683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redigere i masteren</a:t>
            </a:r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="" xmlns:a16="http://schemas.microsoft.com/office/drawing/2014/main" id="{46C58602-B25F-46A3-A96F-AECF9CF079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55536" y="2752651"/>
            <a:ext cx="3205316" cy="2910348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1" name="Rectangle 2">
            <a:extLst>
              <a:ext uri="{FF2B5EF4-FFF2-40B4-BE49-F238E27FC236}">
                <a16:creationId xmlns="" xmlns:a16="http://schemas.microsoft.com/office/drawing/2014/main" id="{C707DD8D-0DC2-406D-AEA3-BA5363A9AD4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-383460"/>
            <a:ext cx="12192000" cy="346348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altLang="da-DK" sz="1200">
                <a:solidFill>
                  <a:srgbClr val="000000"/>
                </a:solidFill>
                <a:latin typeface="Verdana" panose="020B0604030504040204" pitchFamily="34" charset="0"/>
              </a:rPr>
              <a:t>Sådan ændres baggrundsbilledet - Højreklik på tom plads. Vælg Formater baggrund / udfyld / billede eller strukturel udfyldning, og vælg derefter det ønskede billede. 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="" xmlns:a16="http://schemas.microsoft.com/office/drawing/2014/main" id="{80807C4A-BE1D-9A43-AF58-09C1CBA73FC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50824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Image with headline and text, yellow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="" xmlns:a16="http://schemas.microsoft.com/office/drawing/2014/main" id="{557ECC2A-732D-48E7-8C1C-82A4CEECD73C}"/>
              </a:ext>
            </a:extLst>
          </p:cNvPr>
          <p:cNvSpPr/>
          <p:nvPr userDrawn="1"/>
        </p:nvSpPr>
        <p:spPr>
          <a:xfrm>
            <a:off x="932511" y="882445"/>
            <a:ext cx="4251365" cy="5093110"/>
          </a:xfrm>
          <a:prstGeom prst="rect">
            <a:avLst/>
          </a:prstGeom>
          <a:solidFill>
            <a:srgbClr val="63D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rgbClr val="FFFFFF"/>
              </a:solidFill>
              <a:latin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C2F37F11-2D52-4716-98A4-8DA4A1ED5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55536" y="1224012"/>
            <a:ext cx="3205316" cy="1366838"/>
          </a:xfrm>
        </p:spPr>
        <p:txBody>
          <a:bodyPr/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redigere i masteren</a:t>
            </a:r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="" xmlns:a16="http://schemas.microsoft.com/office/drawing/2014/main" id="{46C58602-B25F-46A3-A96F-AECF9CF079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55536" y="2752651"/>
            <a:ext cx="3205316" cy="2910348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1" name="Rectangle 2">
            <a:extLst>
              <a:ext uri="{FF2B5EF4-FFF2-40B4-BE49-F238E27FC236}">
                <a16:creationId xmlns="" xmlns:a16="http://schemas.microsoft.com/office/drawing/2014/main" id="{C707DD8D-0DC2-406D-AEA3-BA5363A9AD47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-383460"/>
            <a:ext cx="12192000" cy="346348"/>
          </a:xfrm>
          <a:prstGeom prst="rect">
            <a:avLst/>
          </a:prstGeom>
          <a:solidFill>
            <a:srgbClr val="63D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altLang="da-DK" sz="1200">
                <a:solidFill>
                  <a:srgbClr val="000000"/>
                </a:solidFill>
                <a:latin typeface="Verdana" panose="020B0604030504040204" pitchFamily="34" charset="0"/>
              </a:rPr>
              <a:t>Sådan ændres baggrundsbilledet - Højreklik på tom plads. Vælg Formater baggrund / udfyld / billede eller strukturel udfyldning, og vælg derefter det ønskede billede. </a:t>
            </a:r>
          </a:p>
        </p:txBody>
      </p:sp>
      <p:pic>
        <p:nvPicPr>
          <p:cNvPr id="7" name="Billede 6">
            <a:extLst>
              <a:ext uri="{FF2B5EF4-FFF2-40B4-BE49-F238E27FC236}">
                <a16:creationId xmlns="" xmlns:a16="http://schemas.microsoft.com/office/drawing/2014/main" id="{2CF4F616-5660-2146-AF92-2F47C783879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6266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ndscape image  with quote or statemen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3805F0-87F5-40FC-A046-0038172611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2258" y="2359742"/>
            <a:ext cx="7767484" cy="2969342"/>
          </a:xfrm>
        </p:spPr>
        <p:txBody>
          <a:bodyPr anchor="t"/>
          <a:lstStyle>
            <a:lvl1pPr algn="ctr">
              <a:defRPr sz="5500">
                <a:solidFill>
                  <a:schemeClr val="bg1"/>
                </a:solidFill>
              </a:defRPr>
            </a:lvl1pPr>
          </a:lstStyle>
          <a:p>
            <a:r>
              <a:rPr lang="da-DK" dirty="0"/>
              <a:t>Klik for at redigere i masteren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="" xmlns:a16="http://schemas.microsoft.com/office/drawing/2014/main" id="{FE4CF21E-ED6A-4A45-BBDD-C9BCFB2455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11542" y="1534341"/>
            <a:ext cx="7767483" cy="48101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Rectangle 2">
            <a:extLst>
              <a:ext uri="{FF2B5EF4-FFF2-40B4-BE49-F238E27FC236}">
                <a16:creationId xmlns="" xmlns:a16="http://schemas.microsoft.com/office/drawing/2014/main" id="{FC5306E7-3A57-4619-8815-54062145ED4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-383460"/>
            <a:ext cx="12192000" cy="34634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altLang="da-DK" sz="1200">
                <a:solidFill>
                  <a:srgbClr val="000000"/>
                </a:solidFill>
                <a:latin typeface="Verdana" panose="020B0604030504040204" pitchFamily="34" charset="0"/>
              </a:rPr>
              <a:t>Sådan ændres baggrundsbilledet - Højreklik på tom plads. Vælg Formater baggrund / udfyld / billede eller strukturel udfyldning, og vælg derefter det ønskede billede. </a:t>
            </a:r>
          </a:p>
        </p:txBody>
      </p:sp>
    </p:spTree>
    <p:extLst>
      <p:ext uri="{BB962C8B-B14F-4D97-AF65-F5344CB8AC3E}">
        <p14:creationId xmlns:p14="http://schemas.microsoft.com/office/powerpoint/2010/main" val="267271273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 on blue">
    <p:bg>
      <p:bgPr>
        <a:solidFill>
          <a:srgbClr val="291B7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3805F0-87F5-40FC-A046-0038172611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2258" y="2359742"/>
            <a:ext cx="7767484" cy="2969342"/>
          </a:xfrm>
        </p:spPr>
        <p:txBody>
          <a:bodyPr anchor="t"/>
          <a:lstStyle>
            <a:lvl1pPr algn="ctr">
              <a:defRPr sz="5500"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i masteren</a:t>
            </a:r>
            <a:endParaRPr lang="da-DK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="" xmlns:a16="http://schemas.microsoft.com/office/drawing/2014/main" id="{FE4CF21E-ED6A-4A45-BBDD-C9BCFB2455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11542" y="1534341"/>
            <a:ext cx="7767483" cy="48101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93359534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or statement on yellow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033805F0-87F5-40FC-A046-0038172611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12258" y="2359742"/>
            <a:ext cx="7767484" cy="2969342"/>
          </a:xfrm>
        </p:spPr>
        <p:txBody>
          <a:bodyPr anchor="t"/>
          <a:lstStyle>
            <a:lvl1pPr algn="ctr">
              <a:defRPr sz="5500">
                <a:solidFill>
                  <a:schemeClr val="tx1"/>
                </a:solidFill>
              </a:defRPr>
            </a:lvl1pPr>
          </a:lstStyle>
          <a:p>
            <a:r>
              <a:rPr lang="da-DK"/>
              <a:t>Klik for at redigere i masteren</a:t>
            </a:r>
            <a:endParaRPr lang="da-DK" dirty="0"/>
          </a:p>
        </p:txBody>
      </p:sp>
      <p:sp>
        <p:nvSpPr>
          <p:cNvPr id="10" name="Pladsholder til tekst 9">
            <a:extLst>
              <a:ext uri="{FF2B5EF4-FFF2-40B4-BE49-F238E27FC236}">
                <a16:creationId xmlns="" xmlns:a16="http://schemas.microsoft.com/office/drawing/2014/main" id="{FE4CF21E-ED6A-4A45-BBDD-C9BCFB24551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211542" y="1534341"/>
            <a:ext cx="7767483" cy="481013"/>
          </a:xfrm>
        </p:spPr>
        <p:txBody>
          <a:bodyPr anchor="ctr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42932061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CDF246-3A21-4EE2-ACF6-56C0200E008B}" type="datetimeFigureOut">
              <a:rPr lang="da-DK" smtClean="0"/>
              <a:t>26-10-2020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09A41D-7102-4A03-B33F-93E7F5EC502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1604110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(Agenda)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C2F37F11-2D52-4716-98A4-8DA4A1ED5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893812"/>
            <a:ext cx="6416689" cy="1366838"/>
          </a:xfrm>
        </p:spPr>
        <p:txBody>
          <a:bodyPr/>
          <a:lstStyle>
            <a:lvl1pPr>
              <a:defRPr/>
            </a:lvl1pPr>
          </a:lstStyle>
          <a:p>
            <a:r>
              <a:rPr lang="da-DK"/>
              <a:t>Klik for at redigere i masteren</a:t>
            </a:r>
            <a:endParaRPr lang="da-DK" dirty="0"/>
          </a:p>
        </p:txBody>
      </p:sp>
      <p:sp>
        <p:nvSpPr>
          <p:cNvPr id="7" name="Pladsholder til tekst 6">
            <a:extLst>
              <a:ext uri="{FF2B5EF4-FFF2-40B4-BE49-F238E27FC236}">
                <a16:creationId xmlns="" xmlns:a16="http://schemas.microsoft.com/office/drawing/2014/main" id="{81414D25-3F08-458F-9398-1559378E5B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9788" y="2542837"/>
            <a:ext cx="6416689" cy="3121787"/>
          </a:xfrm>
        </p:spPr>
        <p:txBody>
          <a:bodyPr/>
          <a:lstStyle>
            <a:lvl1pPr marL="0" indent="0">
              <a:buNone/>
              <a:defRPr/>
            </a:lvl1pPr>
            <a:lvl2pPr marL="232200" indent="0">
              <a:buNone/>
              <a:defRPr/>
            </a:lvl2pPr>
            <a:lvl3pPr marL="457200" indent="0">
              <a:buNone/>
              <a:defRPr/>
            </a:lvl3pPr>
            <a:lvl4pPr marL="685800" indent="0">
              <a:buNone/>
              <a:defRPr/>
            </a:lvl4pPr>
            <a:lvl5pPr marL="914400" indent="0">
              <a:buNone/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8" name="Pladsholder til slidenummer 5">
            <a:extLst>
              <a:ext uri="{FF2B5EF4-FFF2-40B4-BE49-F238E27FC236}">
                <a16:creationId xmlns="" xmlns:a16="http://schemas.microsoft.com/office/drawing/2014/main" id="{9CF5CA5F-57BC-3F42-89D9-412C8D7A6D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588" y="6380955"/>
            <a:ext cx="324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2906F29B-0E9E-4576-AEC9-0657A7532060}" type="slidenum">
              <a:rPr lang="da-DK" smtClean="0">
                <a:solidFill>
                  <a:srgbClr val="F7232C"/>
                </a:solidFill>
              </a:rPr>
              <a:pPr/>
              <a:t>‹nr.›</a:t>
            </a:fld>
            <a:endParaRPr lang="da-DK" dirty="0">
              <a:solidFill>
                <a:srgbClr val="F7232C"/>
              </a:solidFill>
            </a:endParaRPr>
          </a:p>
        </p:txBody>
      </p:sp>
      <p:sp>
        <p:nvSpPr>
          <p:cNvPr id="9" name="Pladsholder til sidefod 4">
            <a:extLst>
              <a:ext uri="{FF2B5EF4-FFF2-40B4-BE49-F238E27FC236}">
                <a16:creationId xmlns="" xmlns:a16="http://schemas.microsoft.com/office/drawing/2014/main" id="{C0A136CC-C8AB-D14F-8950-9CBFDE156C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cap="all" baseline="0">
                <a:solidFill>
                  <a:schemeClr val="tx1"/>
                </a:solidFill>
              </a:defRPr>
            </a:lvl1pPr>
          </a:lstStyle>
          <a:p>
            <a:r>
              <a:rPr lang="da-DK" dirty="0">
                <a:solidFill>
                  <a:srgbClr val="000000"/>
                </a:solidFill>
              </a:rPr>
              <a:t>Fælles introduktionsmøde for bestyrelserne i </a:t>
            </a:r>
            <a:r>
              <a:rPr lang="da-DK" dirty="0" err="1">
                <a:solidFill>
                  <a:srgbClr val="000000"/>
                </a:solidFill>
              </a:rPr>
              <a:t>Norlys</a:t>
            </a:r>
            <a:r>
              <a:rPr lang="da-DK" dirty="0">
                <a:solidFill>
                  <a:srgbClr val="000000"/>
                </a:solidFill>
              </a:rPr>
              <a:t> Vækstpulje</a:t>
            </a:r>
          </a:p>
        </p:txBody>
      </p:sp>
      <p:sp>
        <p:nvSpPr>
          <p:cNvPr id="10" name="Pladsholder til dato 3">
            <a:extLst>
              <a:ext uri="{FF2B5EF4-FFF2-40B4-BE49-F238E27FC236}">
                <a16:creationId xmlns="" xmlns:a16="http://schemas.microsoft.com/office/drawing/2014/main" id="{F147AAD1-392F-6748-B421-90E90A2194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85377" y="6380955"/>
            <a:ext cx="720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C1EF374-20B7-B84E-BC46-386CEF4B23B8}" type="datetime1">
              <a:rPr lang="da-DK" smtClean="0">
                <a:solidFill>
                  <a:srgbClr val="000000"/>
                </a:solidFill>
              </a:rPr>
              <a:pPr/>
              <a:t>26-10-2020</a:t>
            </a:fld>
            <a:endParaRPr lang="da-DK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9010775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mage with headline and tex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C2F37F11-2D52-4716-98A4-8DA4A1ED5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9619" y="1224012"/>
            <a:ext cx="4990726" cy="1366838"/>
          </a:xfrm>
        </p:spPr>
        <p:txBody>
          <a:bodyPr/>
          <a:lstStyle>
            <a:lvl1pPr>
              <a:defRPr sz="3600"/>
            </a:lvl1pPr>
          </a:lstStyle>
          <a:p>
            <a:r>
              <a:rPr lang="da-DK"/>
              <a:t>Klik for at redigere i masteren</a:t>
            </a:r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="" xmlns:a16="http://schemas.microsoft.com/office/drawing/2014/main" id="{46C58602-B25F-46A3-A96F-AECF9CF079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39621" y="2901344"/>
            <a:ext cx="4990727" cy="2976702"/>
          </a:xfrm>
        </p:spPr>
        <p:txBody>
          <a:bodyPr/>
          <a:lstStyle>
            <a:lvl1pPr marL="0" indent="0">
              <a:buNone/>
              <a:defRPr sz="22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7" name="Pladsholder til billede 6">
            <a:extLst>
              <a:ext uri="{FF2B5EF4-FFF2-40B4-BE49-F238E27FC236}">
                <a16:creationId xmlns="" xmlns:a16="http://schemas.microsoft.com/office/drawing/2014/main" id="{6E710DEF-5968-41E5-909C-1FE1843B2F6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62116" y="439978"/>
            <a:ext cx="4139381" cy="5476568"/>
          </a:xfrm>
          <a:solidFill>
            <a:schemeClr val="bg1">
              <a:lumMod val="95000"/>
            </a:schemeClr>
          </a:solidFill>
        </p:spPr>
        <p:txBody>
          <a:bodyPr tIns="2124000" anchor="t" anchorCtr="1"/>
          <a:lstStyle>
            <a:lvl1pPr marL="0" indent="0">
              <a:buNone/>
              <a:defRPr/>
            </a:lvl1pPr>
          </a:lstStyle>
          <a:p>
            <a:r>
              <a:rPr lang="da-DK"/>
              <a:t>Træk billede til pladsholder, eller klik på symbol for at tilføje</a:t>
            </a:r>
          </a:p>
        </p:txBody>
      </p:sp>
      <p:sp>
        <p:nvSpPr>
          <p:cNvPr id="8" name="Pladsholder til slidenummer 5">
            <a:extLst>
              <a:ext uri="{FF2B5EF4-FFF2-40B4-BE49-F238E27FC236}">
                <a16:creationId xmlns="" xmlns:a16="http://schemas.microsoft.com/office/drawing/2014/main" id="{B2B42020-159C-C24A-B419-236C8D05486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588" y="6380955"/>
            <a:ext cx="324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2906F29B-0E9E-4576-AEC9-0657A7532060}" type="slidenum">
              <a:rPr lang="da-DK" smtClean="0">
                <a:solidFill>
                  <a:srgbClr val="F7232C"/>
                </a:solidFill>
              </a:rPr>
              <a:pPr/>
              <a:t>‹nr.›</a:t>
            </a:fld>
            <a:endParaRPr lang="da-DK" dirty="0">
              <a:solidFill>
                <a:srgbClr val="F7232C"/>
              </a:solidFill>
            </a:endParaRPr>
          </a:p>
        </p:txBody>
      </p:sp>
      <p:sp>
        <p:nvSpPr>
          <p:cNvPr id="9" name="Pladsholder til sidefod 4">
            <a:extLst>
              <a:ext uri="{FF2B5EF4-FFF2-40B4-BE49-F238E27FC236}">
                <a16:creationId xmlns="" xmlns:a16="http://schemas.microsoft.com/office/drawing/2014/main" id="{EA8BECEB-B31E-CE4E-AE67-957B7C8AE5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cap="all" baseline="0">
                <a:solidFill>
                  <a:schemeClr val="tx1"/>
                </a:solidFill>
              </a:defRPr>
            </a:lvl1pPr>
          </a:lstStyle>
          <a:p>
            <a:r>
              <a:rPr lang="da-DK" dirty="0">
                <a:solidFill>
                  <a:srgbClr val="000000"/>
                </a:solidFill>
              </a:rPr>
              <a:t>Fælles introduktionsmøde for bestyrelserne i </a:t>
            </a:r>
            <a:r>
              <a:rPr lang="da-DK" dirty="0" err="1">
                <a:solidFill>
                  <a:srgbClr val="000000"/>
                </a:solidFill>
              </a:rPr>
              <a:t>Norlys</a:t>
            </a:r>
            <a:r>
              <a:rPr lang="da-DK" dirty="0">
                <a:solidFill>
                  <a:srgbClr val="000000"/>
                </a:solidFill>
              </a:rPr>
              <a:t> Vækstpulje</a:t>
            </a:r>
          </a:p>
        </p:txBody>
      </p:sp>
      <p:sp>
        <p:nvSpPr>
          <p:cNvPr id="10" name="Pladsholder til dato 3">
            <a:extLst>
              <a:ext uri="{FF2B5EF4-FFF2-40B4-BE49-F238E27FC236}">
                <a16:creationId xmlns="" xmlns:a16="http://schemas.microsoft.com/office/drawing/2014/main" id="{58E8C8A1-7DE9-014C-A921-B36A011E083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85377" y="6380955"/>
            <a:ext cx="720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C1EF374-20B7-B84E-BC46-386CEF4B23B8}" type="datetime1">
              <a:rPr lang="da-DK" smtClean="0">
                <a:solidFill>
                  <a:srgbClr val="000000"/>
                </a:solidFill>
              </a:rPr>
              <a:pPr/>
              <a:t>26-10-2020</a:t>
            </a:fld>
            <a:endParaRPr lang="da-DK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536463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Quote or statement on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="" xmlns:a16="http://schemas.microsoft.com/office/drawing/2014/main" id="{4E58E559-38A6-47B2-93A9-98DE7FF2D973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291B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solidFill>
                <a:srgbClr val="FFFFFF"/>
              </a:solidFill>
              <a:latin typeface="Verdana" panose="020B060403050404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="" xmlns:a16="http://schemas.microsoft.com/office/drawing/2014/main" id="{C2F37F11-2D52-4716-98A4-8DA4A1ED5A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20550" y="1224012"/>
            <a:ext cx="4235650" cy="1366838"/>
          </a:xfrm>
        </p:spPr>
        <p:txBody>
          <a:bodyPr/>
          <a:lstStyle>
            <a:lvl1pPr>
              <a:defRPr sz="3600"/>
            </a:lvl1pPr>
          </a:lstStyle>
          <a:p>
            <a:r>
              <a:rPr lang="da-DK"/>
              <a:t>Klik for at redigere i masteren</a:t>
            </a:r>
            <a:endParaRPr lang="da-DK" dirty="0"/>
          </a:p>
        </p:txBody>
      </p:sp>
      <p:sp>
        <p:nvSpPr>
          <p:cNvPr id="12" name="Pladsholder til tekst 11">
            <a:extLst>
              <a:ext uri="{FF2B5EF4-FFF2-40B4-BE49-F238E27FC236}">
                <a16:creationId xmlns="" xmlns:a16="http://schemas.microsoft.com/office/drawing/2014/main" id="{46C58602-B25F-46A3-A96F-AECF9CF079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20550" y="2887579"/>
            <a:ext cx="4241800" cy="2834795"/>
          </a:xfrm>
        </p:spPr>
        <p:txBody>
          <a:bodyPr/>
          <a:lstStyle>
            <a:lvl1pPr marL="0" indent="0">
              <a:buNone/>
              <a:defRPr sz="22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5" name="Pladsholder til tekst 14">
            <a:extLst>
              <a:ext uri="{FF2B5EF4-FFF2-40B4-BE49-F238E27FC236}">
                <a16:creationId xmlns="" xmlns:a16="http://schemas.microsoft.com/office/drawing/2014/main" id="{0AE3C9AC-CCDA-4FF2-BAE4-9EF8F63FD75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010400" y="1224014"/>
            <a:ext cx="4241800" cy="3090812"/>
          </a:xfrm>
        </p:spPr>
        <p:txBody>
          <a:bodyPr anchor="ctr"/>
          <a:lstStyle>
            <a:lvl1pPr marL="0" indent="0" algn="ctr">
              <a:lnSpc>
                <a:spcPct val="90000"/>
              </a:lnSpc>
              <a:buNone/>
              <a:defRPr sz="3600" b="0" i="0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da-DK" dirty="0"/>
              <a:t>Klik for at redigere teksttypografierne i masteren</a:t>
            </a:r>
          </a:p>
        </p:txBody>
      </p:sp>
      <p:sp>
        <p:nvSpPr>
          <p:cNvPr id="10" name="Pladsholder til tekst 9">
            <a:extLst>
              <a:ext uri="{FF2B5EF4-FFF2-40B4-BE49-F238E27FC236}">
                <a16:creationId xmlns="" xmlns:a16="http://schemas.microsoft.com/office/drawing/2014/main" id="{61438D53-40DF-4940-ABCD-341D31DEF85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10400" y="4724400"/>
            <a:ext cx="4241800" cy="997974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="" xmlns:a16="http://schemas.microsoft.com/office/drawing/2014/main" id="{01E5E73B-6D4E-804A-895A-90CB028398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black">
          <a:xfrm>
            <a:off x="10853400" y="6393180"/>
            <a:ext cx="957600" cy="183514"/>
          </a:xfrm>
          <a:prstGeom prst="rect">
            <a:avLst/>
          </a:prstGeom>
        </p:spPr>
      </p:pic>
      <p:sp>
        <p:nvSpPr>
          <p:cNvPr id="14" name="Pladsholder til slidenummer 5">
            <a:extLst>
              <a:ext uri="{FF2B5EF4-FFF2-40B4-BE49-F238E27FC236}">
                <a16:creationId xmlns="" xmlns:a16="http://schemas.microsoft.com/office/drawing/2014/main" id="{D79BF1DA-A23A-664D-8EED-041CB282E7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588" y="6380955"/>
            <a:ext cx="324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2906F29B-0E9E-4576-AEC9-0657A7532060}" type="slidenum">
              <a:rPr lang="da-DK" smtClean="0">
                <a:solidFill>
                  <a:srgbClr val="F7232C"/>
                </a:solidFill>
              </a:rPr>
              <a:pPr/>
              <a:t>‹nr.›</a:t>
            </a:fld>
            <a:endParaRPr lang="da-DK" dirty="0">
              <a:solidFill>
                <a:srgbClr val="F7232C"/>
              </a:solidFill>
            </a:endParaRPr>
          </a:p>
        </p:txBody>
      </p:sp>
      <p:sp>
        <p:nvSpPr>
          <p:cNvPr id="16" name="Pladsholder til sidefod 4">
            <a:extLst>
              <a:ext uri="{FF2B5EF4-FFF2-40B4-BE49-F238E27FC236}">
                <a16:creationId xmlns="" xmlns:a16="http://schemas.microsoft.com/office/drawing/2014/main" id="{F48FBD84-E194-0149-ACF5-FA23558457C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cap="all" baseline="0">
                <a:solidFill>
                  <a:schemeClr val="tx1"/>
                </a:solidFill>
              </a:defRPr>
            </a:lvl1pPr>
          </a:lstStyle>
          <a:p>
            <a:r>
              <a:rPr lang="da-DK" dirty="0">
                <a:solidFill>
                  <a:srgbClr val="000000"/>
                </a:solidFill>
              </a:rPr>
              <a:t>Fælles introduktionsmøde for bestyrelserne i </a:t>
            </a:r>
            <a:r>
              <a:rPr lang="da-DK" dirty="0" err="1">
                <a:solidFill>
                  <a:srgbClr val="000000"/>
                </a:solidFill>
              </a:rPr>
              <a:t>Norlys</a:t>
            </a:r>
            <a:r>
              <a:rPr lang="da-DK" dirty="0">
                <a:solidFill>
                  <a:srgbClr val="000000"/>
                </a:solidFill>
              </a:rPr>
              <a:t> Vækstpulje</a:t>
            </a:r>
          </a:p>
        </p:txBody>
      </p:sp>
      <p:sp>
        <p:nvSpPr>
          <p:cNvPr id="17" name="Pladsholder til dato 3">
            <a:extLst>
              <a:ext uri="{FF2B5EF4-FFF2-40B4-BE49-F238E27FC236}">
                <a16:creationId xmlns="" xmlns:a16="http://schemas.microsoft.com/office/drawing/2014/main" id="{D28866D9-EB27-814E-804D-1F50D003B2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85377" y="6380955"/>
            <a:ext cx="720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C1EF374-20B7-B84E-BC46-386CEF4B23B8}" type="datetime1">
              <a:rPr lang="da-DK" smtClean="0">
                <a:solidFill>
                  <a:srgbClr val="000000"/>
                </a:solidFill>
              </a:rPr>
              <a:pPr/>
              <a:t>26-10-2020</a:t>
            </a:fld>
            <a:endParaRPr lang="da-DK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04903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8497CAF2-3CF1-468E-8726-B32027955B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3688"/>
            <a:ext cx="10677547" cy="1015200"/>
          </a:xfrm>
        </p:spPr>
        <p:txBody>
          <a:bodyPr/>
          <a:lstStyle/>
          <a:p>
            <a:r>
              <a:rPr lang="da-DK" dirty="0"/>
              <a:t>Klik for at redigere i maste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="" xmlns:a16="http://schemas.microsoft.com/office/drawing/2014/main" id="{7D405E1E-7CA2-485A-8BC8-BECF929CCB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1978" y="1920520"/>
            <a:ext cx="10677545" cy="3804004"/>
          </a:xfrm>
        </p:spPr>
        <p:txBody>
          <a:bodyPr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8" name="Pladsholder til sidefod 4">
            <a:extLst>
              <a:ext uri="{FF2B5EF4-FFF2-40B4-BE49-F238E27FC236}">
                <a16:creationId xmlns="" xmlns:a16="http://schemas.microsoft.com/office/drawing/2014/main" id="{4F58B626-F04B-E842-A15A-2DAEF63F2E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cap="all" baseline="0">
                <a:solidFill>
                  <a:schemeClr val="tx1"/>
                </a:solidFill>
              </a:defRPr>
            </a:lvl1pPr>
          </a:lstStyle>
          <a:p>
            <a:r>
              <a:rPr lang="da-DK" dirty="0">
                <a:solidFill>
                  <a:srgbClr val="000000"/>
                </a:solidFill>
              </a:rPr>
              <a:t>Fælles introduktionsmøde for bestyrelserne i </a:t>
            </a:r>
            <a:r>
              <a:rPr lang="da-DK" dirty="0" err="1">
                <a:solidFill>
                  <a:srgbClr val="000000"/>
                </a:solidFill>
              </a:rPr>
              <a:t>Norlys</a:t>
            </a:r>
            <a:r>
              <a:rPr lang="da-DK" dirty="0">
                <a:solidFill>
                  <a:srgbClr val="000000"/>
                </a:solidFill>
              </a:rPr>
              <a:t> Vækstpulje</a:t>
            </a:r>
          </a:p>
        </p:txBody>
      </p:sp>
      <p:sp>
        <p:nvSpPr>
          <p:cNvPr id="9" name="Pladsholder til dato 3">
            <a:extLst>
              <a:ext uri="{FF2B5EF4-FFF2-40B4-BE49-F238E27FC236}">
                <a16:creationId xmlns="" xmlns:a16="http://schemas.microsoft.com/office/drawing/2014/main" id="{E02F678F-5CC8-744D-825A-AE68EA4254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85377" y="6380955"/>
            <a:ext cx="720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C1EF374-20B7-B84E-BC46-386CEF4B23B8}" type="datetime1">
              <a:rPr lang="da-DK" smtClean="0">
                <a:solidFill>
                  <a:srgbClr val="000000"/>
                </a:solidFill>
              </a:rPr>
              <a:pPr/>
              <a:t>26-10-2020</a:t>
            </a:fld>
            <a:endParaRPr lang="da-DK" dirty="0">
              <a:solidFill>
                <a:srgbClr val="000000"/>
              </a:solidFill>
            </a:endParaRPr>
          </a:p>
        </p:txBody>
      </p:sp>
      <p:sp>
        <p:nvSpPr>
          <p:cNvPr id="10" name="Pladsholder til slidenummer 5">
            <a:extLst>
              <a:ext uri="{FF2B5EF4-FFF2-40B4-BE49-F238E27FC236}">
                <a16:creationId xmlns="" xmlns:a16="http://schemas.microsoft.com/office/drawing/2014/main" id="{1065FBEB-D44D-1546-BA7C-277ABBF7DD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588" y="6380955"/>
            <a:ext cx="324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2906F29B-0E9E-4576-AEC9-0657A7532060}" type="slidenum">
              <a:rPr lang="da-DK" smtClean="0">
                <a:solidFill>
                  <a:srgbClr val="F7232C"/>
                </a:solidFill>
              </a:rPr>
              <a:pPr/>
              <a:t>‹nr.›</a:t>
            </a:fld>
            <a:endParaRPr lang="da-DK" dirty="0">
              <a:solidFill>
                <a:srgbClr val="F7232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058914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4"/>
          <p:cNvSpPr>
            <a:spLocks noGrp="1"/>
          </p:cNvSpPr>
          <p:nvPr>
            <p:ph type="title"/>
          </p:nvPr>
        </p:nvSpPr>
        <p:spPr>
          <a:xfrm>
            <a:off x="1790700" y="1042859"/>
            <a:ext cx="8610600" cy="495486"/>
          </a:xfrm>
          <a:prstGeom prst="rect">
            <a:avLst/>
          </a:prstGeom>
        </p:spPr>
        <p:txBody>
          <a:bodyPr/>
          <a:lstStyle>
            <a:lvl1pPr algn="ctr">
              <a:defRPr sz="3200" b="1" i="0">
                <a:latin typeface="Playfair Display" charset="0"/>
                <a:ea typeface="Playfair Display" charset="0"/>
                <a:cs typeface="Playfair Display" charset="0"/>
              </a:defRPr>
            </a:lvl1pPr>
          </a:lstStyle>
          <a:p>
            <a:r>
              <a:rPr lang="da-DK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2365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4"/>
          <p:cNvSpPr>
            <a:spLocks noGrp="1"/>
          </p:cNvSpPr>
          <p:nvPr>
            <p:ph type="title"/>
          </p:nvPr>
        </p:nvSpPr>
        <p:spPr>
          <a:xfrm>
            <a:off x="1790700" y="1042859"/>
            <a:ext cx="8610600" cy="495486"/>
          </a:xfrm>
          <a:prstGeom prst="rect">
            <a:avLst/>
          </a:prstGeom>
        </p:spPr>
        <p:txBody>
          <a:bodyPr lIns="0" rIns="0"/>
          <a:lstStyle>
            <a:lvl1pPr algn="ctr">
              <a:defRPr sz="3200" b="1" i="0">
                <a:latin typeface="Playfair Display" charset="0"/>
                <a:ea typeface="Playfair Display" charset="0"/>
                <a:cs typeface="Playfair Display" charset="0"/>
              </a:defRPr>
            </a:lvl1pPr>
          </a:lstStyle>
          <a:p>
            <a:r>
              <a:rPr lang="da-DK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0782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4"/>
          <p:cNvSpPr>
            <a:spLocks noGrp="1"/>
          </p:cNvSpPr>
          <p:nvPr>
            <p:ph type="title"/>
          </p:nvPr>
        </p:nvSpPr>
        <p:spPr>
          <a:xfrm>
            <a:off x="1790700" y="1042859"/>
            <a:ext cx="8610600" cy="495486"/>
          </a:xfrm>
          <a:prstGeom prst="rect">
            <a:avLst/>
          </a:prstGeom>
        </p:spPr>
        <p:txBody>
          <a:bodyPr/>
          <a:lstStyle>
            <a:lvl1pPr algn="ctr">
              <a:defRPr sz="3200" b="1" i="0">
                <a:latin typeface="Playfair Display" charset="0"/>
                <a:ea typeface="Playfair Display" charset="0"/>
                <a:cs typeface="Playfair Display" charset="0"/>
              </a:defRPr>
            </a:lvl1pPr>
          </a:lstStyle>
          <a:p>
            <a:r>
              <a:rPr lang="da-DK"/>
              <a:t>Click to edit Master title style</a:t>
            </a:r>
            <a:endParaRPr lang="en-US" dirty="0"/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7" hasCustomPrompt="1"/>
          </p:nvPr>
        </p:nvSpPr>
        <p:spPr>
          <a:xfrm>
            <a:off x="0" y="3818238"/>
            <a:ext cx="3054096" cy="1933831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8" hasCustomPrompt="1"/>
          </p:nvPr>
        </p:nvSpPr>
        <p:spPr>
          <a:xfrm>
            <a:off x="3054096" y="3818238"/>
            <a:ext cx="3054096" cy="1933831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9" hasCustomPrompt="1"/>
          </p:nvPr>
        </p:nvSpPr>
        <p:spPr>
          <a:xfrm>
            <a:off x="6108192" y="3818238"/>
            <a:ext cx="3054096" cy="1933831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20" hasCustomPrompt="1"/>
          </p:nvPr>
        </p:nvSpPr>
        <p:spPr>
          <a:xfrm>
            <a:off x="9162288" y="3818238"/>
            <a:ext cx="3054096" cy="1933831"/>
          </a:xfrm>
          <a:prstGeom prst="rect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2798425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64"/>
          <p:cNvSpPr>
            <a:spLocks noGrp="1"/>
          </p:cNvSpPr>
          <p:nvPr>
            <p:ph type="title"/>
          </p:nvPr>
        </p:nvSpPr>
        <p:spPr>
          <a:xfrm>
            <a:off x="1790700" y="1042859"/>
            <a:ext cx="8610600" cy="495486"/>
          </a:xfrm>
          <a:prstGeom prst="rect">
            <a:avLst/>
          </a:prstGeom>
        </p:spPr>
        <p:txBody>
          <a:bodyPr/>
          <a:lstStyle>
            <a:lvl1pPr algn="ctr">
              <a:defRPr sz="3200" b="1" i="0">
                <a:latin typeface="Playfair Display" charset="0"/>
                <a:ea typeface="Playfair Display" charset="0"/>
                <a:cs typeface="Playfair Display" charset="0"/>
              </a:defRPr>
            </a:lvl1pPr>
          </a:lstStyle>
          <a:p>
            <a:r>
              <a:rPr lang="da-DK"/>
              <a:t>Click to edit Master title style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5" hasCustomPrompt="1"/>
          </p:nvPr>
        </p:nvSpPr>
        <p:spPr>
          <a:xfrm>
            <a:off x="1864842" y="2469774"/>
            <a:ext cx="1697411" cy="1653474"/>
          </a:xfrm>
          <a:custGeom>
            <a:avLst/>
            <a:gdLst>
              <a:gd name="connsiteX0" fmla="*/ 1248912 w 2526994"/>
              <a:gd name="connsiteY0" fmla="*/ 234404 h 2461584"/>
              <a:gd name="connsiteX1" fmla="*/ 1222583 w 2526994"/>
              <a:gd name="connsiteY1" fmla="*/ 237356 h 2461584"/>
              <a:gd name="connsiteX2" fmla="*/ 1069058 w 2526994"/>
              <a:gd name="connsiteY2" fmla="*/ 278596 h 2461584"/>
              <a:gd name="connsiteX3" fmla="*/ 904547 w 2526994"/>
              <a:gd name="connsiteY3" fmla="*/ 381925 h 2461584"/>
              <a:gd name="connsiteX4" fmla="*/ 733502 w 2526994"/>
              <a:gd name="connsiteY4" fmla="*/ 554079 h 2461584"/>
              <a:gd name="connsiteX5" fmla="*/ 528171 w 2526994"/>
              <a:gd name="connsiteY5" fmla="*/ 848013 h 2461584"/>
              <a:gd name="connsiteX6" fmla="*/ 356652 w 2526994"/>
              <a:gd name="connsiteY6" fmla="*/ 1176544 h 2461584"/>
              <a:gd name="connsiteX7" fmla="*/ 272549 w 2526994"/>
              <a:gd name="connsiteY7" fmla="*/ 1416785 h 2461584"/>
              <a:gd name="connsiteX8" fmla="*/ 243189 w 2526994"/>
              <a:gd name="connsiteY8" fmla="*/ 1601301 h 2461584"/>
              <a:gd name="connsiteX9" fmla="*/ 240632 w 2526994"/>
              <a:gd name="connsiteY9" fmla="*/ 1617354 h 2461584"/>
              <a:gd name="connsiteX10" fmla="*/ 240632 w 2526994"/>
              <a:gd name="connsiteY10" fmla="*/ 1656840 h 2461584"/>
              <a:gd name="connsiteX11" fmla="*/ 243852 w 2526994"/>
              <a:gd name="connsiteY11" fmla="*/ 1681381 h 2461584"/>
              <a:gd name="connsiteX12" fmla="*/ 263836 w 2526994"/>
              <a:gd name="connsiteY12" fmla="*/ 1795228 h 2461584"/>
              <a:gd name="connsiteX13" fmla="*/ 424748 w 2526994"/>
              <a:gd name="connsiteY13" fmla="*/ 2029840 h 2461584"/>
              <a:gd name="connsiteX14" fmla="*/ 603276 w 2526994"/>
              <a:gd name="connsiteY14" fmla="*/ 2129387 h 2461584"/>
              <a:gd name="connsiteX15" fmla="*/ 816088 w 2526994"/>
              <a:gd name="connsiteY15" fmla="*/ 2189354 h 2461584"/>
              <a:gd name="connsiteX16" fmla="*/ 1047464 w 2526994"/>
              <a:gd name="connsiteY16" fmla="*/ 2218877 h 2461584"/>
              <a:gd name="connsiteX17" fmla="*/ 1239536 w 2526994"/>
              <a:gd name="connsiteY17" fmla="*/ 2226258 h 2461584"/>
              <a:gd name="connsiteX18" fmla="*/ 1250617 w 2526994"/>
              <a:gd name="connsiteY18" fmla="*/ 2227180 h 2461584"/>
              <a:gd name="connsiteX19" fmla="*/ 1276378 w 2526994"/>
              <a:gd name="connsiteY19" fmla="*/ 2227180 h 2461584"/>
              <a:gd name="connsiteX20" fmla="*/ 1284049 w 2526994"/>
              <a:gd name="connsiteY20" fmla="*/ 2226258 h 2461584"/>
              <a:gd name="connsiteX21" fmla="*/ 1435016 w 2526994"/>
              <a:gd name="connsiteY21" fmla="*/ 2221645 h 2461584"/>
              <a:gd name="connsiteX22" fmla="*/ 1587120 w 2526994"/>
              <a:gd name="connsiteY22" fmla="*/ 2208544 h 2461584"/>
              <a:gd name="connsiteX23" fmla="*/ 1775403 w 2526994"/>
              <a:gd name="connsiteY23" fmla="*/ 2175608 h 2461584"/>
              <a:gd name="connsiteX24" fmla="*/ 1994846 w 2526994"/>
              <a:gd name="connsiteY24" fmla="*/ 2098111 h 2461584"/>
              <a:gd name="connsiteX25" fmla="*/ 2151590 w 2526994"/>
              <a:gd name="connsiteY25" fmla="*/ 1986848 h 2461584"/>
              <a:gd name="connsiteX26" fmla="*/ 2274145 w 2526994"/>
              <a:gd name="connsiteY26" fmla="*/ 1757863 h 2461584"/>
              <a:gd name="connsiteX27" fmla="*/ 2284847 w 2526994"/>
              <a:gd name="connsiteY27" fmla="*/ 1667727 h 2461584"/>
              <a:gd name="connsiteX28" fmla="*/ 2286362 w 2526994"/>
              <a:gd name="connsiteY28" fmla="*/ 1655087 h 2461584"/>
              <a:gd name="connsiteX29" fmla="*/ 2286362 w 2526994"/>
              <a:gd name="connsiteY29" fmla="*/ 1617354 h 2461584"/>
              <a:gd name="connsiteX30" fmla="*/ 2284942 w 2526994"/>
              <a:gd name="connsiteY30" fmla="*/ 1607298 h 2461584"/>
              <a:gd name="connsiteX31" fmla="*/ 2254540 w 2526994"/>
              <a:gd name="connsiteY31" fmla="*/ 1410142 h 2461584"/>
              <a:gd name="connsiteX32" fmla="*/ 2146949 w 2526994"/>
              <a:gd name="connsiteY32" fmla="*/ 1120175 h 2461584"/>
              <a:gd name="connsiteX33" fmla="*/ 1851171 w 2526994"/>
              <a:gd name="connsiteY33" fmla="*/ 624195 h 2461584"/>
              <a:gd name="connsiteX34" fmla="*/ 1685997 w 2526994"/>
              <a:gd name="connsiteY34" fmla="*/ 435988 h 2461584"/>
              <a:gd name="connsiteX35" fmla="*/ 1501313 w 2526994"/>
              <a:gd name="connsiteY35" fmla="*/ 298616 h 2461584"/>
              <a:gd name="connsiteX36" fmla="*/ 1332541 w 2526994"/>
              <a:gd name="connsiteY36" fmla="*/ 240678 h 2461584"/>
              <a:gd name="connsiteX37" fmla="*/ 1287364 w 2526994"/>
              <a:gd name="connsiteY37" fmla="*/ 235788 h 2461584"/>
              <a:gd name="connsiteX38" fmla="*/ 1279787 w 2526994"/>
              <a:gd name="connsiteY38" fmla="*/ 234404 h 2461584"/>
              <a:gd name="connsiteX39" fmla="*/ 1248912 w 2526994"/>
              <a:gd name="connsiteY39" fmla="*/ 234404 h 2461584"/>
              <a:gd name="connsiteX40" fmla="*/ 1245481 w 2526994"/>
              <a:gd name="connsiteY40" fmla="*/ 0 h 2461584"/>
              <a:gd name="connsiteX41" fmla="*/ 1283620 w 2526994"/>
              <a:gd name="connsiteY41" fmla="*/ 0 h 2461584"/>
              <a:gd name="connsiteX42" fmla="*/ 1292979 w 2526994"/>
              <a:gd name="connsiteY42" fmla="*/ 1710 h 2461584"/>
              <a:gd name="connsiteX43" fmla="*/ 1348783 w 2526994"/>
              <a:gd name="connsiteY43" fmla="*/ 7750 h 2461584"/>
              <a:gd name="connsiteX44" fmla="*/ 1557260 w 2526994"/>
              <a:gd name="connsiteY44" fmla="*/ 79318 h 2461584"/>
              <a:gd name="connsiteX45" fmla="*/ 1785392 w 2526994"/>
              <a:gd name="connsiteY45" fmla="*/ 249008 h 2461584"/>
              <a:gd name="connsiteX46" fmla="*/ 1989423 w 2526994"/>
              <a:gd name="connsiteY46" fmla="*/ 481491 h 2461584"/>
              <a:gd name="connsiteX47" fmla="*/ 2354784 w 2526994"/>
              <a:gd name="connsiteY47" fmla="*/ 1094151 h 2461584"/>
              <a:gd name="connsiteX48" fmla="*/ 2487685 w 2526994"/>
              <a:gd name="connsiteY48" fmla="*/ 1452335 h 2461584"/>
              <a:gd name="connsiteX49" fmla="*/ 2525239 w 2526994"/>
              <a:gd name="connsiteY49" fmla="*/ 1695872 h 2461584"/>
              <a:gd name="connsiteX50" fmla="*/ 2526994 w 2526994"/>
              <a:gd name="connsiteY50" fmla="*/ 1708294 h 2461584"/>
              <a:gd name="connsiteX51" fmla="*/ 2526994 w 2526994"/>
              <a:gd name="connsiteY51" fmla="*/ 1754904 h 2461584"/>
              <a:gd name="connsiteX52" fmla="*/ 2525122 w 2526994"/>
              <a:gd name="connsiteY52" fmla="*/ 1770517 h 2461584"/>
              <a:gd name="connsiteX53" fmla="*/ 2511902 w 2526994"/>
              <a:gd name="connsiteY53" fmla="*/ 1881858 h 2461584"/>
              <a:gd name="connsiteX54" fmla="*/ 2360517 w 2526994"/>
              <a:gd name="connsiteY54" fmla="*/ 2164713 h 2461584"/>
              <a:gd name="connsiteX55" fmla="*/ 2166897 w 2526994"/>
              <a:gd name="connsiteY55" fmla="*/ 2302151 h 2461584"/>
              <a:gd name="connsiteX56" fmla="*/ 1895831 w 2526994"/>
              <a:gd name="connsiteY56" fmla="*/ 2397879 h 2461584"/>
              <a:gd name="connsiteX57" fmla="*/ 1663254 w 2526994"/>
              <a:gd name="connsiteY57" fmla="*/ 2438564 h 2461584"/>
              <a:gd name="connsiteX58" fmla="*/ 1475367 w 2526994"/>
              <a:gd name="connsiteY58" fmla="*/ 2454746 h 2461584"/>
              <a:gd name="connsiteX59" fmla="*/ 1288884 w 2526994"/>
              <a:gd name="connsiteY59" fmla="*/ 2460445 h 2461584"/>
              <a:gd name="connsiteX60" fmla="*/ 1279408 w 2526994"/>
              <a:gd name="connsiteY60" fmla="*/ 2461584 h 2461584"/>
              <a:gd name="connsiteX61" fmla="*/ 1247586 w 2526994"/>
              <a:gd name="connsiteY61" fmla="*/ 2461584 h 2461584"/>
              <a:gd name="connsiteX62" fmla="*/ 1233899 w 2526994"/>
              <a:gd name="connsiteY62" fmla="*/ 2460445 h 2461584"/>
              <a:gd name="connsiteX63" fmla="*/ 996642 w 2526994"/>
              <a:gd name="connsiteY63" fmla="*/ 2451328 h 2461584"/>
              <a:gd name="connsiteX64" fmla="*/ 710834 w 2526994"/>
              <a:gd name="connsiteY64" fmla="*/ 2414860 h 2461584"/>
              <a:gd name="connsiteX65" fmla="*/ 447957 w 2526994"/>
              <a:gd name="connsiteY65" fmla="*/ 2340784 h 2461584"/>
              <a:gd name="connsiteX66" fmla="*/ 227430 w 2526994"/>
              <a:gd name="connsiteY66" fmla="*/ 2217819 h 2461584"/>
              <a:gd name="connsiteX67" fmla="*/ 28663 w 2526994"/>
              <a:gd name="connsiteY67" fmla="*/ 1928013 h 2461584"/>
              <a:gd name="connsiteX68" fmla="*/ 3978 w 2526994"/>
              <a:gd name="connsiteY68" fmla="*/ 1787384 h 2461584"/>
              <a:gd name="connsiteX69" fmla="*/ 0 w 2526994"/>
              <a:gd name="connsiteY69" fmla="*/ 1757070 h 2461584"/>
              <a:gd name="connsiteX70" fmla="*/ 0 w 2526994"/>
              <a:gd name="connsiteY70" fmla="*/ 1708294 h 2461584"/>
              <a:gd name="connsiteX71" fmla="*/ 3159 w 2526994"/>
              <a:gd name="connsiteY71" fmla="*/ 1688464 h 2461584"/>
              <a:gd name="connsiteX72" fmla="*/ 39426 w 2526994"/>
              <a:gd name="connsiteY72" fmla="*/ 1460540 h 2461584"/>
              <a:gd name="connsiteX73" fmla="*/ 143313 w 2526994"/>
              <a:gd name="connsiteY73" fmla="*/ 1163782 h 2461584"/>
              <a:gd name="connsiteX74" fmla="*/ 355183 w 2526994"/>
              <a:gd name="connsiteY74" fmla="*/ 757963 h 2461584"/>
              <a:gd name="connsiteX75" fmla="*/ 608819 w 2526994"/>
              <a:gd name="connsiteY75" fmla="*/ 394879 h 2461584"/>
              <a:gd name="connsiteX76" fmla="*/ 820103 w 2526994"/>
              <a:gd name="connsiteY76" fmla="*/ 182226 h 2461584"/>
              <a:gd name="connsiteX77" fmla="*/ 1023316 w 2526994"/>
              <a:gd name="connsiteY77" fmla="*/ 54588 h 2461584"/>
              <a:gd name="connsiteX78" fmla="*/ 1212957 w 2526994"/>
              <a:gd name="connsiteY78" fmla="*/ 3647 h 2461584"/>
              <a:gd name="connsiteX79" fmla="*/ 1245481 w 2526994"/>
              <a:gd name="connsiteY79" fmla="*/ 0 h 2461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526994" h="2461584">
                <a:moveTo>
                  <a:pt x="1248912" y="234404"/>
                </a:moveTo>
                <a:cubicBezTo>
                  <a:pt x="1240104" y="235419"/>
                  <a:pt x="1231391" y="236526"/>
                  <a:pt x="1222583" y="237356"/>
                </a:cubicBezTo>
                <a:cubicBezTo>
                  <a:pt x="1169072" y="242431"/>
                  <a:pt x="1118118" y="256915"/>
                  <a:pt x="1069058" y="278596"/>
                </a:cubicBezTo>
                <a:cubicBezTo>
                  <a:pt x="1009296" y="305074"/>
                  <a:pt x="955122" y="340686"/>
                  <a:pt x="904547" y="381925"/>
                </a:cubicBezTo>
                <a:cubicBezTo>
                  <a:pt x="841471" y="433220"/>
                  <a:pt x="785497" y="491712"/>
                  <a:pt x="733502" y="554079"/>
                </a:cubicBezTo>
                <a:cubicBezTo>
                  <a:pt x="656787" y="646245"/>
                  <a:pt x="589922" y="745330"/>
                  <a:pt x="528171" y="848013"/>
                </a:cubicBezTo>
                <a:cubicBezTo>
                  <a:pt x="464431" y="954110"/>
                  <a:pt x="405995" y="1062975"/>
                  <a:pt x="356652" y="1176544"/>
                </a:cubicBezTo>
                <a:cubicBezTo>
                  <a:pt x="322651" y="1254503"/>
                  <a:pt x="293575" y="1334306"/>
                  <a:pt x="272549" y="1416785"/>
                </a:cubicBezTo>
                <a:cubicBezTo>
                  <a:pt x="257112" y="1477398"/>
                  <a:pt x="246504" y="1538842"/>
                  <a:pt x="243189" y="1601301"/>
                </a:cubicBezTo>
                <a:cubicBezTo>
                  <a:pt x="242905" y="1606744"/>
                  <a:pt x="241485" y="1612003"/>
                  <a:pt x="240632" y="1617354"/>
                </a:cubicBezTo>
                <a:cubicBezTo>
                  <a:pt x="240632" y="1630454"/>
                  <a:pt x="240632" y="1643647"/>
                  <a:pt x="240632" y="1656840"/>
                </a:cubicBezTo>
                <a:cubicBezTo>
                  <a:pt x="241769" y="1665051"/>
                  <a:pt x="243284" y="1673170"/>
                  <a:pt x="243852" y="1681381"/>
                </a:cubicBezTo>
                <a:cubicBezTo>
                  <a:pt x="246504" y="1720037"/>
                  <a:pt x="252944" y="1758048"/>
                  <a:pt x="263836" y="1795228"/>
                </a:cubicBezTo>
                <a:cubicBezTo>
                  <a:pt x="291870" y="1891084"/>
                  <a:pt x="346802" y="1968396"/>
                  <a:pt x="424748" y="2029840"/>
                </a:cubicBezTo>
                <a:cubicBezTo>
                  <a:pt x="479017" y="2072556"/>
                  <a:pt x="539347" y="2104200"/>
                  <a:pt x="603276" y="2129387"/>
                </a:cubicBezTo>
                <a:cubicBezTo>
                  <a:pt x="672224" y="2156510"/>
                  <a:pt x="743446" y="2175331"/>
                  <a:pt x="816088" y="2189354"/>
                </a:cubicBezTo>
                <a:cubicBezTo>
                  <a:pt x="892519" y="2204023"/>
                  <a:pt x="969802" y="2213157"/>
                  <a:pt x="1047464" y="2218877"/>
                </a:cubicBezTo>
                <a:cubicBezTo>
                  <a:pt x="1111393" y="2223490"/>
                  <a:pt x="1175512" y="2225612"/>
                  <a:pt x="1239536" y="2226258"/>
                </a:cubicBezTo>
                <a:cubicBezTo>
                  <a:pt x="1243229" y="2226350"/>
                  <a:pt x="1246923" y="2226903"/>
                  <a:pt x="1250617" y="2227180"/>
                </a:cubicBezTo>
                <a:cubicBezTo>
                  <a:pt x="1259235" y="2227180"/>
                  <a:pt x="1267759" y="2227180"/>
                  <a:pt x="1276378" y="2227180"/>
                </a:cubicBezTo>
                <a:cubicBezTo>
                  <a:pt x="1278935" y="2226903"/>
                  <a:pt x="1281492" y="2226350"/>
                  <a:pt x="1284049" y="2226258"/>
                </a:cubicBezTo>
                <a:cubicBezTo>
                  <a:pt x="1334340" y="2224781"/>
                  <a:pt x="1384631" y="2223951"/>
                  <a:pt x="1435016" y="2221645"/>
                </a:cubicBezTo>
                <a:cubicBezTo>
                  <a:pt x="1485781" y="2219431"/>
                  <a:pt x="1536545" y="2214725"/>
                  <a:pt x="1587120" y="2208544"/>
                </a:cubicBezTo>
                <a:cubicBezTo>
                  <a:pt x="1650481" y="2200887"/>
                  <a:pt x="1713274" y="2190369"/>
                  <a:pt x="1775403" y="2175608"/>
                </a:cubicBezTo>
                <a:cubicBezTo>
                  <a:pt x="1851266" y="2157433"/>
                  <a:pt x="1924950" y="2133261"/>
                  <a:pt x="1994846" y="2098111"/>
                </a:cubicBezTo>
                <a:cubicBezTo>
                  <a:pt x="2052713" y="2068957"/>
                  <a:pt x="2105845" y="2033069"/>
                  <a:pt x="2151590" y="1986848"/>
                </a:cubicBezTo>
                <a:cubicBezTo>
                  <a:pt x="2215046" y="1922636"/>
                  <a:pt x="2255487" y="1846062"/>
                  <a:pt x="2274145" y="1757863"/>
                </a:cubicBezTo>
                <a:cubicBezTo>
                  <a:pt x="2280490" y="1728156"/>
                  <a:pt x="2284752" y="1698172"/>
                  <a:pt x="2284847" y="1667727"/>
                </a:cubicBezTo>
                <a:cubicBezTo>
                  <a:pt x="2284847" y="1663483"/>
                  <a:pt x="2285794" y="1659331"/>
                  <a:pt x="2286362" y="1655087"/>
                </a:cubicBezTo>
                <a:cubicBezTo>
                  <a:pt x="2286362" y="1642540"/>
                  <a:pt x="2286362" y="1629901"/>
                  <a:pt x="2286362" y="1617354"/>
                </a:cubicBezTo>
                <a:cubicBezTo>
                  <a:pt x="2285889" y="1614033"/>
                  <a:pt x="2285036" y="1610711"/>
                  <a:pt x="2284942" y="1607298"/>
                </a:cubicBezTo>
                <a:cubicBezTo>
                  <a:pt x="2283805" y="1540226"/>
                  <a:pt x="2271303" y="1474815"/>
                  <a:pt x="2254540" y="1410142"/>
                </a:cubicBezTo>
                <a:cubicBezTo>
                  <a:pt x="2228684" y="1309857"/>
                  <a:pt x="2191274" y="1213724"/>
                  <a:pt x="2146949" y="1120175"/>
                </a:cubicBezTo>
                <a:cubicBezTo>
                  <a:pt x="2064173" y="945438"/>
                  <a:pt x="1966906" y="779281"/>
                  <a:pt x="1851171" y="624195"/>
                </a:cubicBezTo>
                <a:cubicBezTo>
                  <a:pt x="1801164" y="557123"/>
                  <a:pt x="1746706" y="493742"/>
                  <a:pt x="1685997" y="435988"/>
                </a:cubicBezTo>
                <a:cubicBezTo>
                  <a:pt x="1630024" y="382663"/>
                  <a:pt x="1569599" y="335242"/>
                  <a:pt x="1501313" y="298616"/>
                </a:cubicBezTo>
                <a:cubicBezTo>
                  <a:pt x="1448181" y="270108"/>
                  <a:pt x="1392302" y="249627"/>
                  <a:pt x="1332541" y="240678"/>
                </a:cubicBezTo>
                <a:cubicBezTo>
                  <a:pt x="1317576" y="238371"/>
                  <a:pt x="1302423" y="237449"/>
                  <a:pt x="1287364" y="235788"/>
                </a:cubicBezTo>
                <a:cubicBezTo>
                  <a:pt x="1284807" y="235603"/>
                  <a:pt x="1282344" y="234865"/>
                  <a:pt x="1279787" y="234404"/>
                </a:cubicBezTo>
                <a:cubicBezTo>
                  <a:pt x="1269464" y="234404"/>
                  <a:pt x="1259235" y="234404"/>
                  <a:pt x="1248912" y="234404"/>
                </a:cubicBezTo>
                <a:close/>
                <a:moveTo>
                  <a:pt x="1245481" y="0"/>
                </a:moveTo>
                <a:cubicBezTo>
                  <a:pt x="1258233" y="0"/>
                  <a:pt x="1270868" y="0"/>
                  <a:pt x="1283620" y="0"/>
                </a:cubicBezTo>
                <a:cubicBezTo>
                  <a:pt x="1286778" y="570"/>
                  <a:pt x="1289820" y="1482"/>
                  <a:pt x="1292979" y="1710"/>
                </a:cubicBezTo>
                <a:cubicBezTo>
                  <a:pt x="1311580" y="3761"/>
                  <a:pt x="1330299" y="4901"/>
                  <a:pt x="1348783" y="7750"/>
                </a:cubicBezTo>
                <a:cubicBezTo>
                  <a:pt x="1422604" y="18804"/>
                  <a:pt x="1491629" y="44104"/>
                  <a:pt x="1557260" y="79318"/>
                </a:cubicBezTo>
                <a:cubicBezTo>
                  <a:pt x="1641610" y="124561"/>
                  <a:pt x="1716250" y="183137"/>
                  <a:pt x="1785392" y="249008"/>
                </a:cubicBezTo>
                <a:cubicBezTo>
                  <a:pt x="1860383" y="320348"/>
                  <a:pt x="1927652" y="398640"/>
                  <a:pt x="1989423" y="481491"/>
                </a:cubicBezTo>
                <a:cubicBezTo>
                  <a:pt x="2132385" y="673061"/>
                  <a:pt x="2252534" y="878307"/>
                  <a:pt x="2354784" y="1094151"/>
                </a:cubicBezTo>
                <a:cubicBezTo>
                  <a:pt x="2409536" y="1209709"/>
                  <a:pt x="2455747" y="1328458"/>
                  <a:pt x="2487685" y="1452335"/>
                </a:cubicBezTo>
                <a:cubicBezTo>
                  <a:pt x="2508393" y="1532222"/>
                  <a:pt x="2523835" y="1613021"/>
                  <a:pt x="2525239" y="1695872"/>
                </a:cubicBezTo>
                <a:cubicBezTo>
                  <a:pt x="2525356" y="1700089"/>
                  <a:pt x="2526409" y="1704191"/>
                  <a:pt x="2526994" y="1708294"/>
                </a:cubicBezTo>
                <a:cubicBezTo>
                  <a:pt x="2526994" y="1723793"/>
                  <a:pt x="2526994" y="1739406"/>
                  <a:pt x="2526994" y="1754904"/>
                </a:cubicBezTo>
                <a:cubicBezTo>
                  <a:pt x="2526292" y="1760147"/>
                  <a:pt x="2525122" y="1765275"/>
                  <a:pt x="2525122" y="1770517"/>
                </a:cubicBezTo>
                <a:cubicBezTo>
                  <a:pt x="2525005" y="1808125"/>
                  <a:pt x="2519741" y="1845163"/>
                  <a:pt x="2511902" y="1881858"/>
                </a:cubicBezTo>
                <a:cubicBezTo>
                  <a:pt x="2488855" y="1990806"/>
                  <a:pt x="2438900" y="2085395"/>
                  <a:pt x="2360517" y="2164713"/>
                </a:cubicBezTo>
                <a:cubicBezTo>
                  <a:pt x="2304010" y="2221808"/>
                  <a:pt x="2238379" y="2266139"/>
                  <a:pt x="2166897" y="2302151"/>
                </a:cubicBezTo>
                <a:cubicBezTo>
                  <a:pt x="2080559" y="2345571"/>
                  <a:pt x="1989540" y="2375429"/>
                  <a:pt x="1895831" y="2397879"/>
                </a:cubicBezTo>
                <a:cubicBezTo>
                  <a:pt x="1819085" y="2416113"/>
                  <a:pt x="1741520" y="2429105"/>
                  <a:pt x="1663254" y="2438564"/>
                </a:cubicBezTo>
                <a:cubicBezTo>
                  <a:pt x="1600781" y="2446199"/>
                  <a:pt x="1538074" y="2452011"/>
                  <a:pt x="1475367" y="2454746"/>
                </a:cubicBezTo>
                <a:cubicBezTo>
                  <a:pt x="1413128" y="2457595"/>
                  <a:pt x="1351006" y="2458621"/>
                  <a:pt x="1288884" y="2460445"/>
                </a:cubicBezTo>
                <a:cubicBezTo>
                  <a:pt x="1285725" y="2460558"/>
                  <a:pt x="1282567" y="2461242"/>
                  <a:pt x="1279408" y="2461584"/>
                </a:cubicBezTo>
                <a:cubicBezTo>
                  <a:pt x="1268762" y="2461584"/>
                  <a:pt x="1258233" y="2461584"/>
                  <a:pt x="1247586" y="2461584"/>
                </a:cubicBezTo>
                <a:cubicBezTo>
                  <a:pt x="1243024" y="2461242"/>
                  <a:pt x="1238461" y="2460558"/>
                  <a:pt x="1233899" y="2460445"/>
                </a:cubicBezTo>
                <a:cubicBezTo>
                  <a:pt x="1154813" y="2459647"/>
                  <a:pt x="1075611" y="2457026"/>
                  <a:pt x="996642" y="2451328"/>
                </a:cubicBezTo>
                <a:cubicBezTo>
                  <a:pt x="900710" y="2444262"/>
                  <a:pt x="805246" y="2432980"/>
                  <a:pt x="710834" y="2414860"/>
                </a:cubicBezTo>
                <a:cubicBezTo>
                  <a:pt x="621103" y="2397537"/>
                  <a:pt x="533126" y="2374289"/>
                  <a:pt x="447957" y="2340784"/>
                </a:cubicBezTo>
                <a:cubicBezTo>
                  <a:pt x="368988" y="2309672"/>
                  <a:pt x="294465" y="2270583"/>
                  <a:pt x="227430" y="2217819"/>
                </a:cubicBezTo>
                <a:cubicBezTo>
                  <a:pt x="131146" y="2141920"/>
                  <a:pt x="63292" y="2046420"/>
                  <a:pt x="28663" y="1928013"/>
                </a:cubicBezTo>
                <a:cubicBezTo>
                  <a:pt x="15209" y="1882086"/>
                  <a:pt x="7254" y="1835134"/>
                  <a:pt x="3978" y="1787384"/>
                </a:cubicBezTo>
                <a:cubicBezTo>
                  <a:pt x="3276" y="1777241"/>
                  <a:pt x="1404" y="1767212"/>
                  <a:pt x="0" y="1757070"/>
                </a:cubicBezTo>
                <a:cubicBezTo>
                  <a:pt x="0" y="1740773"/>
                  <a:pt x="0" y="1724477"/>
                  <a:pt x="0" y="1708294"/>
                </a:cubicBezTo>
                <a:cubicBezTo>
                  <a:pt x="1053" y="1701684"/>
                  <a:pt x="2808" y="1695188"/>
                  <a:pt x="3159" y="1688464"/>
                </a:cubicBezTo>
                <a:cubicBezTo>
                  <a:pt x="7254" y="1611312"/>
                  <a:pt x="20356" y="1535413"/>
                  <a:pt x="39426" y="1460540"/>
                </a:cubicBezTo>
                <a:cubicBezTo>
                  <a:pt x="65398" y="1358658"/>
                  <a:pt x="101314" y="1260080"/>
                  <a:pt x="143313" y="1163782"/>
                </a:cubicBezTo>
                <a:cubicBezTo>
                  <a:pt x="204265" y="1023495"/>
                  <a:pt x="276449" y="889019"/>
                  <a:pt x="355183" y="757963"/>
                </a:cubicBezTo>
                <a:cubicBezTo>
                  <a:pt x="431461" y="631123"/>
                  <a:pt x="514056" y="508728"/>
                  <a:pt x="608819" y="394879"/>
                </a:cubicBezTo>
                <a:cubicBezTo>
                  <a:pt x="673046" y="317841"/>
                  <a:pt x="742188" y="245589"/>
                  <a:pt x="820103" y="182226"/>
                </a:cubicBezTo>
                <a:cubicBezTo>
                  <a:pt x="882576" y="131285"/>
                  <a:pt x="949495" y="87295"/>
                  <a:pt x="1023316" y="54588"/>
                </a:cubicBezTo>
                <a:cubicBezTo>
                  <a:pt x="1083917" y="27807"/>
                  <a:pt x="1146858" y="9915"/>
                  <a:pt x="1212957" y="3647"/>
                </a:cubicBezTo>
                <a:cubicBezTo>
                  <a:pt x="1223837" y="2621"/>
                  <a:pt x="1234601" y="1254"/>
                  <a:pt x="1245481" y="0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4124960" y="2469774"/>
            <a:ext cx="1697411" cy="1653474"/>
          </a:xfrm>
          <a:custGeom>
            <a:avLst/>
            <a:gdLst>
              <a:gd name="connsiteX0" fmla="*/ 1248912 w 2526994"/>
              <a:gd name="connsiteY0" fmla="*/ 234404 h 2461584"/>
              <a:gd name="connsiteX1" fmla="*/ 1222583 w 2526994"/>
              <a:gd name="connsiteY1" fmla="*/ 237356 h 2461584"/>
              <a:gd name="connsiteX2" fmla="*/ 1069058 w 2526994"/>
              <a:gd name="connsiteY2" fmla="*/ 278596 h 2461584"/>
              <a:gd name="connsiteX3" fmla="*/ 904547 w 2526994"/>
              <a:gd name="connsiteY3" fmla="*/ 381925 h 2461584"/>
              <a:gd name="connsiteX4" fmla="*/ 733502 w 2526994"/>
              <a:gd name="connsiteY4" fmla="*/ 554079 h 2461584"/>
              <a:gd name="connsiteX5" fmla="*/ 528171 w 2526994"/>
              <a:gd name="connsiteY5" fmla="*/ 848013 h 2461584"/>
              <a:gd name="connsiteX6" fmla="*/ 356652 w 2526994"/>
              <a:gd name="connsiteY6" fmla="*/ 1176544 h 2461584"/>
              <a:gd name="connsiteX7" fmla="*/ 272549 w 2526994"/>
              <a:gd name="connsiteY7" fmla="*/ 1416785 h 2461584"/>
              <a:gd name="connsiteX8" fmla="*/ 243189 w 2526994"/>
              <a:gd name="connsiteY8" fmla="*/ 1601301 h 2461584"/>
              <a:gd name="connsiteX9" fmla="*/ 240632 w 2526994"/>
              <a:gd name="connsiteY9" fmla="*/ 1617354 h 2461584"/>
              <a:gd name="connsiteX10" fmla="*/ 240632 w 2526994"/>
              <a:gd name="connsiteY10" fmla="*/ 1656840 h 2461584"/>
              <a:gd name="connsiteX11" fmla="*/ 243852 w 2526994"/>
              <a:gd name="connsiteY11" fmla="*/ 1681381 h 2461584"/>
              <a:gd name="connsiteX12" fmla="*/ 263836 w 2526994"/>
              <a:gd name="connsiteY12" fmla="*/ 1795228 h 2461584"/>
              <a:gd name="connsiteX13" fmla="*/ 424748 w 2526994"/>
              <a:gd name="connsiteY13" fmla="*/ 2029840 h 2461584"/>
              <a:gd name="connsiteX14" fmla="*/ 603276 w 2526994"/>
              <a:gd name="connsiteY14" fmla="*/ 2129387 h 2461584"/>
              <a:gd name="connsiteX15" fmla="*/ 816088 w 2526994"/>
              <a:gd name="connsiteY15" fmla="*/ 2189354 h 2461584"/>
              <a:gd name="connsiteX16" fmla="*/ 1047464 w 2526994"/>
              <a:gd name="connsiteY16" fmla="*/ 2218877 h 2461584"/>
              <a:gd name="connsiteX17" fmla="*/ 1239536 w 2526994"/>
              <a:gd name="connsiteY17" fmla="*/ 2226258 h 2461584"/>
              <a:gd name="connsiteX18" fmla="*/ 1250617 w 2526994"/>
              <a:gd name="connsiteY18" fmla="*/ 2227180 h 2461584"/>
              <a:gd name="connsiteX19" fmla="*/ 1276378 w 2526994"/>
              <a:gd name="connsiteY19" fmla="*/ 2227180 h 2461584"/>
              <a:gd name="connsiteX20" fmla="*/ 1284049 w 2526994"/>
              <a:gd name="connsiteY20" fmla="*/ 2226258 h 2461584"/>
              <a:gd name="connsiteX21" fmla="*/ 1435016 w 2526994"/>
              <a:gd name="connsiteY21" fmla="*/ 2221645 h 2461584"/>
              <a:gd name="connsiteX22" fmla="*/ 1587120 w 2526994"/>
              <a:gd name="connsiteY22" fmla="*/ 2208544 h 2461584"/>
              <a:gd name="connsiteX23" fmla="*/ 1775403 w 2526994"/>
              <a:gd name="connsiteY23" fmla="*/ 2175608 h 2461584"/>
              <a:gd name="connsiteX24" fmla="*/ 1994846 w 2526994"/>
              <a:gd name="connsiteY24" fmla="*/ 2098111 h 2461584"/>
              <a:gd name="connsiteX25" fmla="*/ 2151590 w 2526994"/>
              <a:gd name="connsiteY25" fmla="*/ 1986848 h 2461584"/>
              <a:gd name="connsiteX26" fmla="*/ 2274145 w 2526994"/>
              <a:gd name="connsiteY26" fmla="*/ 1757863 h 2461584"/>
              <a:gd name="connsiteX27" fmla="*/ 2284847 w 2526994"/>
              <a:gd name="connsiteY27" fmla="*/ 1667727 h 2461584"/>
              <a:gd name="connsiteX28" fmla="*/ 2286362 w 2526994"/>
              <a:gd name="connsiteY28" fmla="*/ 1655087 h 2461584"/>
              <a:gd name="connsiteX29" fmla="*/ 2286362 w 2526994"/>
              <a:gd name="connsiteY29" fmla="*/ 1617354 h 2461584"/>
              <a:gd name="connsiteX30" fmla="*/ 2284942 w 2526994"/>
              <a:gd name="connsiteY30" fmla="*/ 1607298 h 2461584"/>
              <a:gd name="connsiteX31" fmla="*/ 2254540 w 2526994"/>
              <a:gd name="connsiteY31" fmla="*/ 1410142 h 2461584"/>
              <a:gd name="connsiteX32" fmla="*/ 2146949 w 2526994"/>
              <a:gd name="connsiteY32" fmla="*/ 1120175 h 2461584"/>
              <a:gd name="connsiteX33" fmla="*/ 1851171 w 2526994"/>
              <a:gd name="connsiteY33" fmla="*/ 624195 h 2461584"/>
              <a:gd name="connsiteX34" fmla="*/ 1685997 w 2526994"/>
              <a:gd name="connsiteY34" fmla="*/ 435988 h 2461584"/>
              <a:gd name="connsiteX35" fmla="*/ 1501313 w 2526994"/>
              <a:gd name="connsiteY35" fmla="*/ 298616 h 2461584"/>
              <a:gd name="connsiteX36" fmla="*/ 1332541 w 2526994"/>
              <a:gd name="connsiteY36" fmla="*/ 240678 h 2461584"/>
              <a:gd name="connsiteX37" fmla="*/ 1287364 w 2526994"/>
              <a:gd name="connsiteY37" fmla="*/ 235788 h 2461584"/>
              <a:gd name="connsiteX38" fmla="*/ 1279787 w 2526994"/>
              <a:gd name="connsiteY38" fmla="*/ 234404 h 2461584"/>
              <a:gd name="connsiteX39" fmla="*/ 1248912 w 2526994"/>
              <a:gd name="connsiteY39" fmla="*/ 234404 h 2461584"/>
              <a:gd name="connsiteX40" fmla="*/ 1245481 w 2526994"/>
              <a:gd name="connsiteY40" fmla="*/ 0 h 2461584"/>
              <a:gd name="connsiteX41" fmla="*/ 1283620 w 2526994"/>
              <a:gd name="connsiteY41" fmla="*/ 0 h 2461584"/>
              <a:gd name="connsiteX42" fmla="*/ 1292979 w 2526994"/>
              <a:gd name="connsiteY42" fmla="*/ 1710 h 2461584"/>
              <a:gd name="connsiteX43" fmla="*/ 1348783 w 2526994"/>
              <a:gd name="connsiteY43" fmla="*/ 7750 h 2461584"/>
              <a:gd name="connsiteX44" fmla="*/ 1557260 w 2526994"/>
              <a:gd name="connsiteY44" fmla="*/ 79318 h 2461584"/>
              <a:gd name="connsiteX45" fmla="*/ 1785392 w 2526994"/>
              <a:gd name="connsiteY45" fmla="*/ 249008 h 2461584"/>
              <a:gd name="connsiteX46" fmla="*/ 1989423 w 2526994"/>
              <a:gd name="connsiteY46" fmla="*/ 481491 h 2461584"/>
              <a:gd name="connsiteX47" fmla="*/ 2354784 w 2526994"/>
              <a:gd name="connsiteY47" fmla="*/ 1094151 h 2461584"/>
              <a:gd name="connsiteX48" fmla="*/ 2487685 w 2526994"/>
              <a:gd name="connsiteY48" fmla="*/ 1452335 h 2461584"/>
              <a:gd name="connsiteX49" fmla="*/ 2525239 w 2526994"/>
              <a:gd name="connsiteY49" fmla="*/ 1695872 h 2461584"/>
              <a:gd name="connsiteX50" fmla="*/ 2526994 w 2526994"/>
              <a:gd name="connsiteY50" fmla="*/ 1708294 h 2461584"/>
              <a:gd name="connsiteX51" fmla="*/ 2526994 w 2526994"/>
              <a:gd name="connsiteY51" fmla="*/ 1754904 h 2461584"/>
              <a:gd name="connsiteX52" fmla="*/ 2525122 w 2526994"/>
              <a:gd name="connsiteY52" fmla="*/ 1770517 h 2461584"/>
              <a:gd name="connsiteX53" fmla="*/ 2511902 w 2526994"/>
              <a:gd name="connsiteY53" fmla="*/ 1881858 h 2461584"/>
              <a:gd name="connsiteX54" fmla="*/ 2360517 w 2526994"/>
              <a:gd name="connsiteY54" fmla="*/ 2164713 h 2461584"/>
              <a:gd name="connsiteX55" fmla="*/ 2166897 w 2526994"/>
              <a:gd name="connsiteY55" fmla="*/ 2302151 h 2461584"/>
              <a:gd name="connsiteX56" fmla="*/ 1895831 w 2526994"/>
              <a:gd name="connsiteY56" fmla="*/ 2397879 h 2461584"/>
              <a:gd name="connsiteX57" fmla="*/ 1663254 w 2526994"/>
              <a:gd name="connsiteY57" fmla="*/ 2438564 h 2461584"/>
              <a:gd name="connsiteX58" fmla="*/ 1475367 w 2526994"/>
              <a:gd name="connsiteY58" fmla="*/ 2454746 h 2461584"/>
              <a:gd name="connsiteX59" fmla="*/ 1288884 w 2526994"/>
              <a:gd name="connsiteY59" fmla="*/ 2460445 h 2461584"/>
              <a:gd name="connsiteX60" fmla="*/ 1279408 w 2526994"/>
              <a:gd name="connsiteY60" fmla="*/ 2461584 h 2461584"/>
              <a:gd name="connsiteX61" fmla="*/ 1247586 w 2526994"/>
              <a:gd name="connsiteY61" fmla="*/ 2461584 h 2461584"/>
              <a:gd name="connsiteX62" fmla="*/ 1233899 w 2526994"/>
              <a:gd name="connsiteY62" fmla="*/ 2460445 h 2461584"/>
              <a:gd name="connsiteX63" fmla="*/ 996642 w 2526994"/>
              <a:gd name="connsiteY63" fmla="*/ 2451328 h 2461584"/>
              <a:gd name="connsiteX64" fmla="*/ 710834 w 2526994"/>
              <a:gd name="connsiteY64" fmla="*/ 2414860 h 2461584"/>
              <a:gd name="connsiteX65" fmla="*/ 447957 w 2526994"/>
              <a:gd name="connsiteY65" fmla="*/ 2340784 h 2461584"/>
              <a:gd name="connsiteX66" fmla="*/ 227430 w 2526994"/>
              <a:gd name="connsiteY66" fmla="*/ 2217819 h 2461584"/>
              <a:gd name="connsiteX67" fmla="*/ 28663 w 2526994"/>
              <a:gd name="connsiteY67" fmla="*/ 1928013 h 2461584"/>
              <a:gd name="connsiteX68" fmla="*/ 3978 w 2526994"/>
              <a:gd name="connsiteY68" fmla="*/ 1787384 h 2461584"/>
              <a:gd name="connsiteX69" fmla="*/ 0 w 2526994"/>
              <a:gd name="connsiteY69" fmla="*/ 1757070 h 2461584"/>
              <a:gd name="connsiteX70" fmla="*/ 0 w 2526994"/>
              <a:gd name="connsiteY70" fmla="*/ 1708294 h 2461584"/>
              <a:gd name="connsiteX71" fmla="*/ 3159 w 2526994"/>
              <a:gd name="connsiteY71" fmla="*/ 1688464 h 2461584"/>
              <a:gd name="connsiteX72" fmla="*/ 39426 w 2526994"/>
              <a:gd name="connsiteY72" fmla="*/ 1460540 h 2461584"/>
              <a:gd name="connsiteX73" fmla="*/ 143313 w 2526994"/>
              <a:gd name="connsiteY73" fmla="*/ 1163782 h 2461584"/>
              <a:gd name="connsiteX74" fmla="*/ 355183 w 2526994"/>
              <a:gd name="connsiteY74" fmla="*/ 757963 h 2461584"/>
              <a:gd name="connsiteX75" fmla="*/ 608819 w 2526994"/>
              <a:gd name="connsiteY75" fmla="*/ 394879 h 2461584"/>
              <a:gd name="connsiteX76" fmla="*/ 820103 w 2526994"/>
              <a:gd name="connsiteY76" fmla="*/ 182226 h 2461584"/>
              <a:gd name="connsiteX77" fmla="*/ 1023316 w 2526994"/>
              <a:gd name="connsiteY77" fmla="*/ 54588 h 2461584"/>
              <a:gd name="connsiteX78" fmla="*/ 1212957 w 2526994"/>
              <a:gd name="connsiteY78" fmla="*/ 3647 h 2461584"/>
              <a:gd name="connsiteX79" fmla="*/ 1245481 w 2526994"/>
              <a:gd name="connsiteY79" fmla="*/ 0 h 2461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526994" h="2461584">
                <a:moveTo>
                  <a:pt x="1248912" y="234404"/>
                </a:moveTo>
                <a:cubicBezTo>
                  <a:pt x="1240104" y="235419"/>
                  <a:pt x="1231391" y="236526"/>
                  <a:pt x="1222583" y="237356"/>
                </a:cubicBezTo>
                <a:cubicBezTo>
                  <a:pt x="1169072" y="242431"/>
                  <a:pt x="1118118" y="256915"/>
                  <a:pt x="1069058" y="278596"/>
                </a:cubicBezTo>
                <a:cubicBezTo>
                  <a:pt x="1009296" y="305074"/>
                  <a:pt x="955122" y="340686"/>
                  <a:pt x="904547" y="381925"/>
                </a:cubicBezTo>
                <a:cubicBezTo>
                  <a:pt x="841471" y="433220"/>
                  <a:pt x="785497" y="491712"/>
                  <a:pt x="733502" y="554079"/>
                </a:cubicBezTo>
                <a:cubicBezTo>
                  <a:pt x="656787" y="646245"/>
                  <a:pt x="589922" y="745330"/>
                  <a:pt x="528171" y="848013"/>
                </a:cubicBezTo>
                <a:cubicBezTo>
                  <a:pt x="464431" y="954110"/>
                  <a:pt x="405995" y="1062975"/>
                  <a:pt x="356652" y="1176544"/>
                </a:cubicBezTo>
                <a:cubicBezTo>
                  <a:pt x="322651" y="1254503"/>
                  <a:pt x="293575" y="1334306"/>
                  <a:pt x="272549" y="1416785"/>
                </a:cubicBezTo>
                <a:cubicBezTo>
                  <a:pt x="257112" y="1477398"/>
                  <a:pt x="246504" y="1538842"/>
                  <a:pt x="243189" y="1601301"/>
                </a:cubicBezTo>
                <a:cubicBezTo>
                  <a:pt x="242905" y="1606744"/>
                  <a:pt x="241485" y="1612003"/>
                  <a:pt x="240632" y="1617354"/>
                </a:cubicBezTo>
                <a:cubicBezTo>
                  <a:pt x="240632" y="1630454"/>
                  <a:pt x="240632" y="1643647"/>
                  <a:pt x="240632" y="1656840"/>
                </a:cubicBezTo>
                <a:cubicBezTo>
                  <a:pt x="241769" y="1665051"/>
                  <a:pt x="243284" y="1673170"/>
                  <a:pt x="243852" y="1681381"/>
                </a:cubicBezTo>
                <a:cubicBezTo>
                  <a:pt x="246504" y="1720037"/>
                  <a:pt x="252944" y="1758048"/>
                  <a:pt x="263836" y="1795228"/>
                </a:cubicBezTo>
                <a:cubicBezTo>
                  <a:pt x="291870" y="1891084"/>
                  <a:pt x="346802" y="1968396"/>
                  <a:pt x="424748" y="2029840"/>
                </a:cubicBezTo>
                <a:cubicBezTo>
                  <a:pt x="479017" y="2072556"/>
                  <a:pt x="539347" y="2104200"/>
                  <a:pt x="603276" y="2129387"/>
                </a:cubicBezTo>
                <a:cubicBezTo>
                  <a:pt x="672224" y="2156510"/>
                  <a:pt x="743446" y="2175331"/>
                  <a:pt x="816088" y="2189354"/>
                </a:cubicBezTo>
                <a:cubicBezTo>
                  <a:pt x="892519" y="2204023"/>
                  <a:pt x="969802" y="2213157"/>
                  <a:pt x="1047464" y="2218877"/>
                </a:cubicBezTo>
                <a:cubicBezTo>
                  <a:pt x="1111393" y="2223490"/>
                  <a:pt x="1175512" y="2225612"/>
                  <a:pt x="1239536" y="2226258"/>
                </a:cubicBezTo>
                <a:cubicBezTo>
                  <a:pt x="1243229" y="2226350"/>
                  <a:pt x="1246923" y="2226903"/>
                  <a:pt x="1250617" y="2227180"/>
                </a:cubicBezTo>
                <a:cubicBezTo>
                  <a:pt x="1259235" y="2227180"/>
                  <a:pt x="1267759" y="2227180"/>
                  <a:pt x="1276378" y="2227180"/>
                </a:cubicBezTo>
                <a:cubicBezTo>
                  <a:pt x="1278935" y="2226903"/>
                  <a:pt x="1281492" y="2226350"/>
                  <a:pt x="1284049" y="2226258"/>
                </a:cubicBezTo>
                <a:cubicBezTo>
                  <a:pt x="1334340" y="2224781"/>
                  <a:pt x="1384631" y="2223951"/>
                  <a:pt x="1435016" y="2221645"/>
                </a:cubicBezTo>
                <a:cubicBezTo>
                  <a:pt x="1485781" y="2219431"/>
                  <a:pt x="1536545" y="2214725"/>
                  <a:pt x="1587120" y="2208544"/>
                </a:cubicBezTo>
                <a:cubicBezTo>
                  <a:pt x="1650481" y="2200887"/>
                  <a:pt x="1713274" y="2190369"/>
                  <a:pt x="1775403" y="2175608"/>
                </a:cubicBezTo>
                <a:cubicBezTo>
                  <a:pt x="1851266" y="2157433"/>
                  <a:pt x="1924950" y="2133261"/>
                  <a:pt x="1994846" y="2098111"/>
                </a:cubicBezTo>
                <a:cubicBezTo>
                  <a:pt x="2052713" y="2068957"/>
                  <a:pt x="2105845" y="2033069"/>
                  <a:pt x="2151590" y="1986848"/>
                </a:cubicBezTo>
                <a:cubicBezTo>
                  <a:pt x="2215046" y="1922636"/>
                  <a:pt x="2255487" y="1846062"/>
                  <a:pt x="2274145" y="1757863"/>
                </a:cubicBezTo>
                <a:cubicBezTo>
                  <a:pt x="2280490" y="1728156"/>
                  <a:pt x="2284752" y="1698172"/>
                  <a:pt x="2284847" y="1667727"/>
                </a:cubicBezTo>
                <a:cubicBezTo>
                  <a:pt x="2284847" y="1663483"/>
                  <a:pt x="2285794" y="1659331"/>
                  <a:pt x="2286362" y="1655087"/>
                </a:cubicBezTo>
                <a:cubicBezTo>
                  <a:pt x="2286362" y="1642540"/>
                  <a:pt x="2286362" y="1629901"/>
                  <a:pt x="2286362" y="1617354"/>
                </a:cubicBezTo>
                <a:cubicBezTo>
                  <a:pt x="2285889" y="1614033"/>
                  <a:pt x="2285036" y="1610711"/>
                  <a:pt x="2284942" y="1607298"/>
                </a:cubicBezTo>
                <a:cubicBezTo>
                  <a:pt x="2283805" y="1540226"/>
                  <a:pt x="2271303" y="1474815"/>
                  <a:pt x="2254540" y="1410142"/>
                </a:cubicBezTo>
                <a:cubicBezTo>
                  <a:pt x="2228684" y="1309857"/>
                  <a:pt x="2191274" y="1213724"/>
                  <a:pt x="2146949" y="1120175"/>
                </a:cubicBezTo>
                <a:cubicBezTo>
                  <a:pt x="2064173" y="945438"/>
                  <a:pt x="1966906" y="779281"/>
                  <a:pt x="1851171" y="624195"/>
                </a:cubicBezTo>
                <a:cubicBezTo>
                  <a:pt x="1801164" y="557123"/>
                  <a:pt x="1746706" y="493742"/>
                  <a:pt x="1685997" y="435988"/>
                </a:cubicBezTo>
                <a:cubicBezTo>
                  <a:pt x="1630024" y="382663"/>
                  <a:pt x="1569599" y="335242"/>
                  <a:pt x="1501313" y="298616"/>
                </a:cubicBezTo>
                <a:cubicBezTo>
                  <a:pt x="1448181" y="270108"/>
                  <a:pt x="1392302" y="249627"/>
                  <a:pt x="1332541" y="240678"/>
                </a:cubicBezTo>
                <a:cubicBezTo>
                  <a:pt x="1317576" y="238371"/>
                  <a:pt x="1302423" y="237449"/>
                  <a:pt x="1287364" y="235788"/>
                </a:cubicBezTo>
                <a:cubicBezTo>
                  <a:pt x="1284807" y="235603"/>
                  <a:pt x="1282344" y="234865"/>
                  <a:pt x="1279787" y="234404"/>
                </a:cubicBezTo>
                <a:cubicBezTo>
                  <a:pt x="1269464" y="234404"/>
                  <a:pt x="1259235" y="234404"/>
                  <a:pt x="1248912" y="234404"/>
                </a:cubicBezTo>
                <a:close/>
                <a:moveTo>
                  <a:pt x="1245481" y="0"/>
                </a:moveTo>
                <a:cubicBezTo>
                  <a:pt x="1258233" y="0"/>
                  <a:pt x="1270868" y="0"/>
                  <a:pt x="1283620" y="0"/>
                </a:cubicBezTo>
                <a:cubicBezTo>
                  <a:pt x="1286778" y="570"/>
                  <a:pt x="1289820" y="1482"/>
                  <a:pt x="1292979" y="1710"/>
                </a:cubicBezTo>
                <a:cubicBezTo>
                  <a:pt x="1311580" y="3761"/>
                  <a:pt x="1330299" y="4901"/>
                  <a:pt x="1348783" y="7750"/>
                </a:cubicBezTo>
                <a:cubicBezTo>
                  <a:pt x="1422604" y="18804"/>
                  <a:pt x="1491629" y="44104"/>
                  <a:pt x="1557260" y="79318"/>
                </a:cubicBezTo>
                <a:cubicBezTo>
                  <a:pt x="1641610" y="124561"/>
                  <a:pt x="1716250" y="183137"/>
                  <a:pt x="1785392" y="249008"/>
                </a:cubicBezTo>
                <a:cubicBezTo>
                  <a:pt x="1860383" y="320348"/>
                  <a:pt x="1927652" y="398640"/>
                  <a:pt x="1989423" y="481491"/>
                </a:cubicBezTo>
                <a:cubicBezTo>
                  <a:pt x="2132385" y="673061"/>
                  <a:pt x="2252534" y="878307"/>
                  <a:pt x="2354784" y="1094151"/>
                </a:cubicBezTo>
                <a:cubicBezTo>
                  <a:pt x="2409536" y="1209709"/>
                  <a:pt x="2455747" y="1328458"/>
                  <a:pt x="2487685" y="1452335"/>
                </a:cubicBezTo>
                <a:cubicBezTo>
                  <a:pt x="2508393" y="1532222"/>
                  <a:pt x="2523835" y="1613021"/>
                  <a:pt x="2525239" y="1695872"/>
                </a:cubicBezTo>
                <a:cubicBezTo>
                  <a:pt x="2525356" y="1700089"/>
                  <a:pt x="2526409" y="1704191"/>
                  <a:pt x="2526994" y="1708294"/>
                </a:cubicBezTo>
                <a:cubicBezTo>
                  <a:pt x="2526994" y="1723793"/>
                  <a:pt x="2526994" y="1739406"/>
                  <a:pt x="2526994" y="1754904"/>
                </a:cubicBezTo>
                <a:cubicBezTo>
                  <a:pt x="2526292" y="1760147"/>
                  <a:pt x="2525122" y="1765275"/>
                  <a:pt x="2525122" y="1770517"/>
                </a:cubicBezTo>
                <a:cubicBezTo>
                  <a:pt x="2525005" y="1808125"/>
                  <a:pt x="2519741" y="1845163"/>
                  <a:pt x="2511902" y="1881858"/>
                </a:cubicBezTo>
                <a:cubicBezTo>
                  <a:pt x="2488855" y="1990806"/>
                  <a:pt x="2438900" y="2085395"/>
                  <a:pt x="2360517" y="2164713"/>
                </a:cubicBezTo>
                <a:cubicBezTo>
                  <a:pt x="2304010" y="2221808"/>
                  <a:pt x="2238379" y="2266139"/>
                  <a:pt x="2166897" y="2302151"/>
                </a:cubicBezTo>
                <a:cubicBezTo>
                  <a:pt x="2080559" y="2345571"/>
                  <a:pt x="1989540" y="2375429"/>
                  <a:pt x="1895831" y="2397879"/>
                </a:cubicBezTo>
                <a:cubicBezTo>
                  <a:pt x="1819085" y="2416113"/>
                  <a:pt x="1741520" y="2429105"/>
                  <a:pt x="1663254" y="2438564"/>
                </a:cubicBezTo>
                <a:cubicBezTo>
                  <a:pt x="1600781" y="2446199"/>
                  <a:pt x="1538074" y="2452011"/>
                  <a:pt x="1475367" y="2454746"/>
                </a:cubicBezTo>
                <a:cubicBezTo>
                  <a:pt x="1413128" y="2457595"/>
                  <a:pt x="1351006" y="2458621"/>
                  <a:pt x="1288884" y="2460445"/>
                </a:cubicBezTo>
                <a:cubicBezTo>
                  <a:pt x="1285725" y="2460558"/>
                  <a:pt x="1282567" y="2461242"/>
                  <a:pt x="1279408" y="2461584"/>
                </a:cubicBezTo>
                <a:cubicBezTo>
                  <a:pt x="1268762" y="2461584"/>
                  <a:pt x="1258233" y="2461584"/>
                  <a:pt x="1247586" y="2461584"/>
                </a:cubicBezTo>
                <a:cubicBezTo>
                  <a:pt x="1243024" y="2461242"/>
                  <a:pt x="1238461" y="2460558"/>
                  <a:pt x="1233899" y="2460445"/>
                </a:cubicBezTo>
                <a:cubicBezTo>
                  <a:pt x="1154813" y="2459647"/>
                  <a:pt x="1075611" y="2457026"/>
                  <a:pt x="996642" y="2451328"/>
                </a:cubicBezTo>
                <a:cubicBezTo>
                  <a:pt x="900710" y="2444262"/>
                  <a:pt x="805246" y="2432980"/>
                  <a:pt x="710834" y="2414860"/>
                </a:cubicBezTo>
                <a:cubicBezTo>
                  <a:pt x="621103" y="2397537"/>
                  <a:pt x="533126" y="2374289"/>
                  <a:pt x="447957" y="2340784"/>
                </a:cubicBezTo>
                <a:cubicBezTo>
                  <a:pt x="368988" y="2309672"/>
                  <a:pt x="294465" y="2270583"/>
                  <a:pt x="227430" y="2217819"/>
                </a:cubicBezTo>
                <a:cubicBezTo>
                  <a:pt x="131146" y="2141920"/>
                  <a:pt x="63292" y="2046420"/>
                  <a:pt x="28663" y="1928013"/>
                </a:cubicBezTo>
                <a:cubicBezTo>
                  <a:pt x="15209" y="1882086"/>
                  <a:pt x="7254" y="1835134"/>
                  <a:pt x="3978" y="1787384"/>
                </a:cubicBezTo>
                <a:cubicBezTo>
                  <a:pt x="3276" y="1777241"/>
                  <a:pt x="1404" y="1767212"/>
                  <a:pt x="0" y="1757070"/>
                </a:cubicBezTo>
                <a:cubicBezTo>
                  <a:pt x="0" y="1740773"/>
                  <a:pt x="0" y="1724477"/>
                  <a:pt x="0" y="1708294"/>
                </a:cubicBezTo>
                <a:cubicBezTo>
                  <a:pt x="1053" y="1701684"/>
                  <a:pt x="2808" y="1695188"/>
                  <a:pt x="3159" y="1688464"/>
                </a:cubicBezTo>
                <a:cubicBezTo>
                  <a:pt x="7254" y="1611312"/>
                  <a:pt x="20356" y="1535413"/>
                  <a:pt x="39426" y="1460540"/>
                </a:cubicBezTo>
                <a:cubicBezTo>
                  <a:pt x="65398" y="1358658"/>
                  <a:pt x="101314" y="1260080"/>
                  <a:pt x="143313" y="1163782"/>
                </a:cubicBezTo>
                <a:cubicBezTo>
                  <a:pt x="204265" y="1023495"/>
                  <a:pt x="276449" y="889019"/>
                  <a:pt x="355183" y="757963"/>
                </a:cubicBezTo>
                <a:cubicBezTo>
                  <a:pt x="431461" y="631123"/>
                  <a:pt x="514056" y="508728"/>
                  <a:pt x="608819" y="394879"/>
                </a:cubicBezTo>
                <a:cubicBezTo>
                  <a:pt x="673046" y="317841"/>
                  <a:pt x="742188" y="245589"/>
                  <a:pt x="820103" y="182226"/>
                </a:cubicBezTo>
                <a:cubicBezTo>
                  <a:pt x="882576" y="131285"/>
                  <a:pt x="949495" y="87295"/>
                  <a:pt x="1023316" y="54588"/>
                </a:cubicBezTo>
                <a:cubicBezTo>
                  <a:pt x="1083917" y="27807"/>
                  <a:pt x="1146858" y="9915"/>
                  <a:pt x="1212957" y="3647"/>
                </a:cubicBezTo>
                <a:cubicBezTo>
                  <a:pt x="1223837" y="2621"/>
                  <a:pt x="1234601" y="1254"/>
                  <a:pt x="1245481" y="0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7" hasCustomPrompt="1"/>
          </p:nvPr>
        </p:nvSpPr>
        <p:spPr>
          <a:xfrm>
            <a:off x="6385078" y="2469774"/>
            <a:ext cx="1697411" cy="1653474"/>
          </a:xfrm>
          <a:custGeom>
            <a:avLst/>
            <a:gdLst>
              <a:gd name="connsiteX0" fmla="*/ 1248912 w 2526994"/>
              <a:gd name="connsiteY0" fmla="*/ 234404 h 2461584"/>
              <a:gd name="connsiteX1" fmla="*/ 1222583 w 2526994"/>
              <a:gd name="connsiteY1" fmla="*/ 237356 h 2461584"/>
              <a:gd name="connsiteX2" fmla="*/ 1069058 w 2526994"/>
              <a:gd name="connsiteY2" fmla="*/ 278596 h 2461584"/>
              <a:gd name="connsiteX3" fmla="*/ 904547 w 2526994"/>
              <a:gd name="connsiteY3" fmla="*/ 381925 h 2461584"/>
              <a:gd name="connsiteX4" fmla="*/ 733502 w 2526994"/>
              <a:gd name="connsiteY4" fmla="*/ 554079 h 2461584"/>
              <a:gd name="connsiteX5" fmla="*/ 528171 w 2526994"/>
              <a:gd name="connsiteY5" fmla="*/ 848013 h 2461584"/>
              <a:gd name="connsiteX6" fmla="*/ 356652 w 2526994"/>
              <a:gd name="connsiteY6" fmla="*/ 1176544 h 2461584"/>
              <a:gd name="connsiteX7" fmla="*/ 272549 w 2526994"/>
              <a:gd name="connsiteY7" fmla="*/ 1416785 h 2461584"/>
              <a:gd name="connsiteX8" fmla="*/ 243189 w 2526994"/>
              <a:gd name="connsiteY8" fmla="*/ 1601301 h 2461584"/>
              <a:gd name="connsiteX9" fmla="*/ 240632 w 2526994"/>
              <a:gd name="connsiteY9" fmla="*/ 1617354 h 2461584"/>
              <a:gd name="connsiteX10" fmla="*/ 240632 w 2526994"/>
              <a:gd name="connsiteY10" fmla="*/ 1656840 h 2461584"/>
              <a:gd name="connsiteX11" fmla="*/ 243852 w 2526994"/>
              <a:gd name="connsiteY11" fmla="*/ 1681381 h 2461584"/>
              <a:gd name="connsiteX12" fmla="*/ 263836 w 2526994"/>
              <a:gd name="connsiteY12" fmla="*/ 1795228 h 2461584"/>
              <a:gd name="connsiteX13" fmla="*/ 424748 w 2526994"/>
              <a:gd name="connsiteY13" fmla="*/ 2029840 h 2461584"/>
              <a:gd name="connsiteX14" fmla="*/ 603276 w 2526994"/>
              <a:gd name="connsiteY14" fmla="*/ 2129387 h 2461584"/>
              <a:gd name="connsiteX15" fmla="*/ 816088 w 2526994"/>
              <a:gd name="connsiteY15" fmla="*/ 2189354 h 2461584"/>
              <a:gd name="connsiteX16" fmla="*/ 1047464 w 2526994"/>
              <a:gd name="connsiteY16" fmla="*/ 2218877 h 2461584"/>
              <a:gd name="connsiteX17" fmla="*/ 1239536 w 2526994"/>
              <a:gd name="connsiteY17" fmla="*/ 2226258 h 2461584"/>
              <a:gd name="connsiteX18" fmla="*/ 1250617 w 2526994"/>
              <a:gd name="connsiteY18" fmla="*/ 2227180 h 2461584"/>
              <a:gd name="connsiteX19" fmla="*/ 1276378 w 2526994"/>
              <a:gd name="connsiteY19" fmla="*/ 2227180 h 2461584"/>
              <a:gd name="connsiteX20" fmla="*/ 1284049 w 2526994"/>
              <a:gd name="connsiteY20" fmla="*/ 2226258 h 2461584"/>
              <a:gd name="connsiteX21" fmla="*/ 1435016 w 2526994"/>
              <a:gd name="connsiteY21" fmla="*/ 2221645 h 2461584"/>
              <a:gd name="connsiteX22" fmla="*/ 1587120 w 2526994"/>
              <a:gd name="connsiteY22" fmla="*/ 2208544 h 2461584"/>
              <a:gd name="connsiteX23" fmla="*/ 1775403 w 2526994"/>
              <a:gd name="connsiteY23" fmla="*/ 2175608 h 2461584"/>
              <a:gd name="connsiteX24" fmla="*/ 1994846 w 2526994"/>
              <a:gd name="connsiteY24" fmla="*/ 2098111 h 2461584"/>
              <a:gd name="connsiteX25" fmla="*/ 2151590 w 2526994"/>
              <a:gd name="connsiteY25" fmla="*/ 1986848 h 2461584"/>
              <a:gd name="connsiteX26" fmla="*/ 2274145 w 2526994"/>
              <a:gd name="connsiteY26" fmla="*/ 1757863 h 2461584"/>
              <a:gd name="connsiteX27" fmla="*/ 2284847 w 2526994"/>
              <a:gd name="connsiteY27" fmla="*/ 1667727 h 2461584"/>
              <a:gd name="connsiteX28" fmla="*/ 2286362 w 2526994"/>
              <a:gd name="connsiteY28" fmla="*/ 1655087 h 2461584"/>
              <a:gd name="connsiteX29" fmla="*/ 2286362 w 2526994"/>
              <a:gd name="connsiteY29" fmla="*/ 1617354 h 2461584"/>
              <a:gd name="connsiteX30" fmla="*/ 2284942 w 2526994"/>
              <a:gd name="connsiteY30" fmla="*/ 1607298 h 2461584"/>
              <a:gd name="connsiteX31" fmla="*/ 2254540 w 2526994"/>
              <a:gd name="connsiteY31" fmla="*/ 1410142 h 2461584"/>
              <a:gd name="connsiteX32" fmla="*/ 2146949 w 2526994"/>
              <a:gd name="connsiteY32" fmla="*/ 1120175 h 2461584"/>
              <a:gd name="connsiteX33" fmla="*/ 1851171 w 2526994"/>
              <a:gd name="connsiteY33" fmla="*/ 624195 h 2461584"/>
              <a:gd name="connsiteX34" fmla="*/ 1685997 w 2526994"/>
              <a:gd name="connsiteY34" fmla="*/ 435988 h 2461584"/>
              <a:gd name="connsiteX35" fmla="*/ 1501313 w 2526994"/>
              <a:gd name="connsiteY35" fmla="*/ 298616 h 2461584"/>
              <a:gd name="connsiteX36" fmla="*/ 1332541 w 2526994"/>
              <a:gd name="connsiteY36" fmla="*/ 240678 h 2461584"/>
              <a:gd name="connsiteX37" fmla="*/ 1287364 w 2526994"/>
              <a:gd name="connsiteY37" fmla="*/ 235788 h 2461584"/>
              <a:gd name="connsiteX38" fmla="*/ 1279787 w 2526994"/>
              <a:gd name="connsiteY38" fmla="*/ 234404 h 2461584"/>
              <a:gd name="connsiteX39" fmla="*/ 1248912 w 2526994"/>
              <a:gd name="connsiteY39" fmla="*/ 234404 h 2461584"/>
              <a:gd name="connsiteX40" fmla="*/ 1245481 w 2526994"/>
              <a:gd name="connsiteY40" fmla="*/ 0 h 2461584"/>
              <a:gd name="connsiteX41" fmla="*/ 1283620 w 2526994"/>
              <a:gd name="connsiteY41" fmla="*/ 0 h 2461584"/>
              <a:gd name="connsiteX42" fmla="*/ 1292979 w 2526994"/>
              <a:gd name="connsiteY42" fmla="*/ 1710 h 2461584"/>
              <a:gd name="connsiteX43" fmla="*/ 1348783 w 2526994"/>
              <a:gd name="connsiteY43" fmla="*/ 7750 h 2461584"/>
              <a:gd name="connsiteX44" fmla="*/ 1557260 w 2526994"/>
              <a:gd name="connsiteY44" fmla="*/ 79318 h 2461584"/>
              <a:gd name="connsiteX45" fmla="*/ 1785392 w 2526994"/>
              <a:gd name="connsiteY45" fmla="*/ 249008 h 2461584"/>
              <a:gd name="connsiteX46" fmla="*/ 1989423 w 2526994"/>
              <a:gd name="connsiteY46" fmla="*/ 481491 h 2461584"/>
              <a:gd name="connsiteX47" fmla="*/ 2354784 w 2526994"/>
              <a:gd name="connsiteY47" fmla="*/ 1094151 h 2461584"/>
              <a:gd name="connsiteX48" fmla="*/ 2487685 w 2526994"/>
              <a:gd name="connsiteY48" fmla="*/ 1452335 h 2461584"/>
              <a:gd name="connsiteX49" fmla="*/ 2525239 w 2526994"/>
              <a:gd name="connsiteY49" fmla="*/ 1695872 h 2461584"/>
              <a:gd name="connsiteX50" fmla="*/ 2526994 w 2526994"/>
              <a:gd name="connsiteY50" fmla="*/ 1708294 h 2461584"/>
              <a:gd name="connsiteX51" fmla="*/ 2526994 w 2526994"/>
              <a:gd name="connsiteY51" fmla="*/ 1754904 h 2461584"/>
              <a:gd name="connsiteX52" fmla="*/ 2525122 w 2526994"/>
              <a:gd name="connsiteY52" fmla="*/ 1770517 h 2461584"/>
              <a:gd name="connsiteX53" fmla="*/ 2511902 w 2526994"/>
              <a:gd name="connsiteY53" fmla="*/ 1881858 h 2461584"/>
              <a:gd name="connsiteX54" fmla="*/ 2360517 w 2526994"/>
              <a:gd name="connsiteY54" fmla="*/ 2164713 h 2461584"/>
              <a:gd name="connsiteX55" fmla="*/ 2166897 w 2526994"/>
              <a:gd name="connsiteY55" fmla="*/ 2302151 h 2461584"/>
              <a:gd name="connsiteX56" fmla="*/ 1895831 w 2526994"/>
              <a:gd name="connsiteY56" fmla="*/ 2397879 h 2461584"/>
              <a:gd name="connsiteX57" fmla="*/ 1663254 w 2526994"/>
              <a:gd name="connsiteY57" fmla="*/ 2438564 h 2461584"/>
              <a:gd name="connsiteX58" fmla="*/ 1475367 w 2526994"/>
              <a:gd name="connsiteY58" fmla="*/ 2454746 h 2461584"/>
              <a:gd name="connsiteX59" fmla="*/ 1288884 w 2526994"/>
              <a:gd name="connsiteY59" fmla="*/ 2460445 h 2461584"/>
              <a:gd name="connsiteX60" fmla="*/ 1279408 w 2526994"/>
              <a:gd name="connsiteY60" fmla="*/ 2461584 h 2461584"/>
              <a:gd name="connsiteX61" fmla="*/ 1247586 w 2526994"/>
              <a:gd name="connsiteY61" fmla="*/ 2461584 h 2461584"/>
              <a:gd name="connsiteX62" fmla="*/ 1233899 w 2526994"/>
              <a:gd name="connsiteY62" fmla="*/ 2460445 h 2461584"/>
              <a:gd name="connsiteX63" fmla="*/ 996642 w 2526994"/>
              <a:gd name="connsiteY63" fmla="*/ 2451328 h 2461584"/>
              <a:gd name="connsiteX64" fmla="*/ 710834 w 2526994"/>
              <a:gd name="connsiteY64" fmla="*/ 2414860 h 2461584"/>
              <a:gd name="connsiteX65" fmla="*/ 447957 w 2526994"/>
              <a:gd name="connsiteY65" fmla="*/ 2340784 h 2461584"/>
              <a:gd name="connsiteX66" fmla="*/ 227430 w 2526994"/>
              <a:gd name="connsiteY66" fmla="*/ 2217819 h 2461584"/>
              <a:gd name="connsiteX67" fmla="*/ 28663 w 2526994"/>
              <a:gd name="connsiteY67" fmla="*/ 1928013 h 2461584"/>
              <a:gd name="connsiteX68" fmla="*/ 3978 w 2526994"/>
              <a:gd name="connsiteY68" fmla="*/ 1787384 h 2461584"/>
              <a:gd name="connsiteX69" fmla="*/ 0 w 2526994"/>
              <a:gd name="connsiteY69" fmla="*/ 1757070 h 2461584"/>
              <a:gd name="connsiteX70" fmla="*/ 0 w 2526994"/>
              <a:gd name="connsiteY70" fmla="*/ 1708294 h 2461584"/>
              <a:gd name="connsiteX71" fmla="*/ 3159 w 2526994"/>
              <a:gd name="connsiteY71" fmla="*/ 1688464 h 2461584"/>
              <a:gd name="connsiteX72" fmla="*/ 39426 w 2526994"/>
              <a:gd name="connsiteY72" fmla="*/ 1460540 h 2461584"/>
              <a:gd name="connsiteX73" fmla="*/ 143313 w 2526994"/>
              <a:gd name="connsiteY73" fmla="*/ 1163782 h 2461584"/>
              <a:gd name="connsiteX74" fmla="*/ 355183 w 2526994"/>
              <a:gd name="connsiteY74" fmla="*/ 757963 h 2461584"/>
              <a:gd name="connsiteX75" fmla="*/ 608819 w 2526994"/>
              <a:gd name="connsiteY75" fmla="*/ 394879 h 2461584"/>
              <a:gd name="connsiteX76" fmla="*/ 820103 w 2526994"/>
              <a:gd name="connsiteY76" fmla="*/ 182226 h 2461584"/>
              <a:gd name="connsiteX77" fmla="*/ 1023316 w 2526994"/>
              <a:gd name="connsiteY77" fmla="*/ 54588 h 2461584"/>
              <a:gd name="connsiteX78" fmla="*/ 1212957 w 2526994"/>
              <a:gd name="connsiteY78" fmla="*/ 3647 h 2461584"/>
              <a:gd name="connsiteX79" fmla="*/ 1245481 w 2526994"/>
              <a:gd name="connsiteY79" fmla="*/ 0 h 2461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526994" h="2461584">
                <a:moveTo>
                  <a:pt x="1248912" y="234404"/>
                </a:moveTo>
                <a:cubicBezTo>
                  <a:pt x="1240104" y="235419"/>
                  <a:pt x="1231391" y="236526"/>
                  <a:pt x="1222583" y="237356"/>
                </a:cubicBezTo>
                <a:cubicBezTo>
                  <a:pt x="1169072" y="242431"/>
                  <a:pt x="1118118" y="256915"/>
                  <a:pt x="1069058" y="278596"/>
                </a:cubicBezTo>
                <a:cubicBezTo>
                  <a:pt x="1009296" y="305074"/>
                  <a:pt x="955122" y="340686"/>
                  <a:pt x="904547" y="381925"/>
                </a:cubicBezTo>
                <a:cubicBezTo>
                  <a:pt x="841471" y="433220"/>
                  <a:pt x="785497" y="491712"/>
                  <a:pt x="733502" y="554079"/>
                </a:cubicBezTo>
                <a:cubicBezTo>
                  <a:pt x="656787" y="646245"/>
                  <a:pt x="589922" y="745330"/>
                  <a:pt x="528171" y="848013"/>
                </a:cubicBezTo>
                <a:cubicBezTo>
                  <a:pt x="464431" y="954110"/>
                  <a:pt x="405995" y="1062975"/>
                  <a:pt x="356652" y="1176544"/>
                </a:cubicBezTo>
                <a:cubicBezTo>
                  <a:pt x="322651" y="1254503"/>
                  <a:pt x="293575" y="1334306"/>
                  <a:pt x="272549" y="1416785"/>
                </a:cubicBezTo>
                <a:cubicBezTo>
                  <a:pt x="257112" y="1477398"/>
                  <a:pt x="246504" y="1538842"/>
                  <a:pt x="243189" y="1601301"/>
                </a:cubicBezTo>
                <a:cubicBezTo>
                  <a:pt x="242905" y="1606744"/>
                  <a:pt x="241485" y="1612003"/>
                  <a:pt x="240632" y="1617354"/>
                </a:cubicBezTo>
                <a:cubicBezTo>
                  <a:pt x="240632" y="1630454"/>
                  <a:pt x="240632" y="1643647"/>
                  <a:pt x="240632" y="1656840"/>
                </a:cubicBezTo>
                <a:cubicBezTo>
                  <a:pt x="241769" y="1665051"/>
                  <a:pt x="243284" y="1673170"/>
                  <a:pt x="243852" y="1681381"/>
                </a:cubicBezTo>
                <a:cubicBezTo>
                  <a:pt x="246504" y="1720037"/>
                  <a:pt x="252944" y="1758048"/>
                  <a:pt x="263836" y="1795228"/>
                </a:cubicBezTo>
                <a:cubicBezTo>
                  <a:pt x="291870" y="1891084"/>
                  <a:pt x="346802" y="1968396"/>
                  <a:pt x="424748" y="2029840"/>
                </a:cubicBezTo>
                <a:cubicBezTo>
                  <a:pt x="479017" y="2072556"/>
                  <a:pt x="539347" y="2104200"/>
                  <a:pt x="603276" y="2129387"/>
                </a:cubicBezTo>
                <a:cubicBezTo>
                  <a:pt x="672224" y="2156510"/>
                  <a:pt x="743446" y="2175331"/>
                  <a:pt x="816088" y="2189354"/>
                </a:cubicBezTo>
                <a:cubicBezTo>
                  <a:pt x="892519" y="2204023"/>
                  <a:pt x="969802" y="2213157"/>
                  <a:pt x="1047464" y="2218877"/>
                </a:cubicBezTo>
                <a:cubicBezTo>
                  <a:pt x="1111393" y="2223490"/>
                  <a:pt x="1175512" y="2225612"/>
                  <a:pt x="1239536" y="2226258"/>
                </a:cubicBezTo>
                <a:cubicBezTo>
                  <a:pt x="1243229" y="2226350"/>
                  <a:pt x="1246923" y="2226903"/>
                  <a:pt x="1250617" y="2227180"/>
                </a:cubicBezTo>
                <a:cubicBezTo>
                  <a:pt x="1259235" y="2227180"/>
                  <a:pt x="1267759" y="2227180"/>
                  <a:pt x="1276378" y="2227180"/>
                </a:cubicBezTo>
                <a:cubicBezTo>
                  <a:pt x="1278935" y="2226903"/>
                  <a:pt x="1281492" y="2226350"/>
                  <a:pt x="1284049" y="2226258"/>
                </a:cubicBezTo>
                <a:cubicBezTo>
                  <a:pt x="1334340" y="2224781"/>
                  <a:pt x="1384631" y="2223951"/>
                  <a:pt x="1435016" y="2221645"/>
                </a:cubicBezTo>
                <a:cubicBezTo>
                  <a:pt x="1485781" y="2219431"/>
                  <a:pt x="1536545" y="2214725"/>
                  <a:pt x="1587120" y="2208544"/>
                </a:cubicBezTo>
                <a:cubicBezTo>
                  <a:pt x="1650481" y="2200887"/>
                  <a:pt x="1713274" y="2190369"/>
                  <a:pt x="1775403" y="2175608"/>
                </a:cubicBezTo>
                <a:cubicBezTo>
                  <a:pt x="1851266" y="2157433"/>
                  <a:pt x="1924950" y="2133261"/>
                  <a:pt x="1994846" y="2098111"/>
                </a:cubicBezTo>
                <a:cubicBezTo>
                  <a:pt x="2052713" y="2068957"/>
                  <a:pt x="2105845" y="2033069"/>
                  <a:pt x="2151590" y="1986848"/>
                </a:cubicBezTo>
                <a:cubicBezTo>
                  <a:pt x="2215046" y="1922636"/>
                  <a:pt x="2255487" y="1846062"/>
                  <a:pt x="2274145" y="1757863"/>
                </a:cubicBezTo>
                <a:cubicBezTo>
                  <a:pt x="2280490" y="1728156"/>
                  <a:pt x="2284752" y="1698172"/>
                  <a:pt x="2284847" y="1667727"/>
                </a:cubicBezTo>
                <a:cubicBezTo>
                  <a:pt x="2284847" y="1663483"/>
                  <a:pt x="2285794" y="1659331"/>
                  <a:pt x="2286362" y="1655087"/>
                </a:cubicBezTo>
                <a:cubicBezTo>
                  <a:pt x="2286362" y="1642540"/>
                  <a:pt x="2286362" y="1629901"/>
                  <a:pt x="2286362" y="1617354"/>
                </a:cubicBezTo>
                <a:cubicBezTo>
                  <a:pt x="2285889" y="1614033"/>
                  <a:pt x="2285036" y="1610711"/>
                  <a:pt x="2284942" y="1607298"/>
                </a:cubicBezTo>
                <a:cubicBezTo>
                  <a:pt x="2283805" y="1540226"/>
                  <a:pt x="2271303" y="1474815"/>
                  <a:pt x="2254540" y="1410142"/>
                </a:cubicBezTo>
                <a:cubicBezTo>
                  <a:pt x="2228684" y="1309857"/>
                  <a:pt x="2191274" y="1213724"/>
                  <a:pt x="2146949" y="1120175"/>
                </a:cubicBezTo>
                <a:cubicBezTo>
                  <a:pt x="2064173" y="945438"/>
                  <a:pt x="1966906" y="779281"/>
                  <a:pt x="1851171" y="624195"/>
                </a:cubicBezTo>
                <a:cubicBezTo>
                  <a:pt x="1801164" y="557123"/>
                  <a:pt x="1746706" y="493742"/>
                  <a:pt x="1685997" y="435988"/>
                </a:cubicBezTo>
                <a:cubicBezTo>
                  <a:pt x="1630024" y="382663"/>
                  <a:pt x="1569599" y="335242"/>
                  <a:pt x="1501313" y="298616"/>
                </a:cubicBezTo>
                <a:cubicBezTo>
                  <a:pt x="1448181" y="270108"/>
                  <a:pt x="1392302" y="249627"/>
                  <a:pt x="1332541" y="240678"/>
                </a:cubicBezTo>
                <a:cubicBezTo>
                  <a:pt x="1317576" y="238371"/>
                  <a:pt x="1302423" y="237449"/>
                  <a:pt x="1287364" y="235788"/>
                </a:cubicBezTo>
                <a:cubicBezTo>
                  <a:pt x="1284807" y="235603"/>
                  <a:pt x="1282344" y="234865"/>
                  <a:pt x="1279787" y="234404"/>
                </a:cubicBezTo>
                <a:cubicBezTo>
                  <a:pt x="1269464" y="234404"/>
                  <a:pt x="1259235" y="234404"/>
                  <a:pt x="1248912" y="234404"/>
                </a:cubicBezTo>
                <a:close/>
                <a:moveTo>
                  <a:pt x="1245481" y="0"/>
                </a:moveTo>
                <a:cubicBezTo>
                  <a:pt x="1258233" y="0"/>
                  <a:pt x="1270868" y="0"/>
                  <a:pt x="1283620" y="0"/>
                </a:cubicBezTo>
                <a:cubicBezTo>
                  <a:pt x="1286778" y="570"/>
                  <a:pt x="1289820" y="1482"/>
                  <a:pt x="1292979" y="1710"/>
                </a:cubicBezTo>
                <a:cubicBezTo>
                  <a:pt x="1311580" y="3761"/>
                  <a:pt x="1330299" y="4901"/>
                  <a:pt x="1348783" y="7750"/>
                </a:cubicBezTo>
                <a:cubicBezTo>
                  <a:pt x="1422604" y="18804"/>
                  <a:pt x="1491629" y="44104"/>
                  <a:pt x="1557260" y="79318"/>
                </a:cubicBezTo>
                <a:cubicBezTo>
                  <a:pt x="1641610" y="124561"/>
                  <a:pt x="1716250" y="183137"/>
                  <a:pt x="1785392" y="249008"/>
                </a:cubicBezTo>
                <a:cubicBezTo>
                  <a:pt x="1860383" y="320348"/>
                  <a:pt x="1927652" y="398640"/>
                  <a:pt x="1989423" y="481491"/>
                </a:cubicBezTo>
                <a:cubicBezTo>
                  <a:pt x="2132385" y="673061"/>
                  <a:pt x="2252534" y="878307"/>
                  <a:pt x="2354784" y="1094151"/>
                </a:cubicBezTo>
                <a:cubicBezTo>
                  <a:pt x="2409536" y="1209709"/>
                  <a:pt x="2455747" y="1328458"/>
                  <a:pt x="2487685" y="1452335"/>
                </a:cubicBezTo>
                <a:cubicBezTo>
                  <a:pt x="2508393" y="1532222"/>
                  <a:pt x="2523835" y="1613021"/>
                  <a:pt x="2525239" y="1695872"/>
                </a:cubicBezTo>
                <a:cubicBezTo>
                  <a:pt x="2525356" y="1700089"/>
                  <a:pt x="2526409" y="1704191"/>
                  <a:pt x="2526994" y="1708294"/>
                </a:cubicBezTo>
                <a:cubicBezTo>
                  <a:pt x="2526994" y="1723793"/>
                  <a:pt x="2526994" y="1739406"/>
                  <a:pt x="2526994" y="1754904"/>
                </a:cubicBezTo>
                <a:cubicBezTo>
                  <a:pt x="2526292" y="1760147"/>
                  <a:pt x="2525122" y="1765275"/>
                  <a:pt x="2525122" y="1770517"/>
                </a:cubicBezTo>
                <a:cubicBezTo>
                  <a:pt x="2525005" y="1808125"/>
                  <a:pt x="2519741" y="1845163"/>
                  <a:pt x="2511902" y="1881858"/>
                </a:cubicBezTo>
                <a:cubicBezTo>
                  <a:pt x="2488855" y="1990806"/>
                  <a:pt x="2438900" y="2085395"/>
                  <a:pt x="2360517" y="2164713"/>
                </a:cubicBezTo>
                <a:cubicBezTo>
                  <a:pt x="2304010" y="2221808"/>
                  <a:pt x="2238379" y="2266139"/>
                  <a:pt x="2166897" y="2302151"/>
                </a:cubicBezTo>
                <a:cubicBezTo>
                  <a:pt x="2080559" y="2345571"/>
                  <a:pt x="1989540" y="2375429"/>
                  <a:pt x="1895831" y="2397879"/>
                </a:cubicBezTo>
                <a:cubicBezTo>
                  <a:pt x="1819085" y="2416113"/>
                  <a:pt x="1741520" y="2429105"/>
                  <a:pt x="1663254" y="2438564"/>
                </a:cubicBezTo>
                <a:cubicBezTo>
                  <a:pt x="1600781" y="2446199"/>
                  <a:pt x="1538074" y="2452011"/>
                  <a:pt x="1475367" y="2454746"/>
                </a:cubicBezTo>
                <a:cubicBezTo>
                  <a:pt x="1413128" y="2457595"/>
                  <a:pt x="1351006" y="2458621"/>
                  <a:pt x="1288884" y="2460445"/>
                </a:cubicBezTo>
                <a:cubicBezTo>
                  <a:pt x="1285725" y="2460558"/>
                  <a:pt x="1282567" y="2461242"/>
                  <a:pt x="1279408" y="2461584"/>
                </a:cubicBezTo>
                <a:cubicBezTo>
                  <a:pt x="1268762" y="2461584"/>
                  <a:pt x="1258233" y="2461584"/>
                  <a:pt x="1247586" y="2461584"/>
                </a:cubicBezTo>
                <a:cubicBezTo>
                  <a:pt x="1243024" y="2461242"/>
                  <a:pt x="1238461" y="2460558"/>
                  <a:pt x="1233899" y="2460445"/>
                </a:cubicBezTo>
                <a:cubicBezTo>
                  <a:pt x="1154813" y="2459647"/>
                  <a:pt x="1075611" y="2457026"/>
                  <a:pt x="996642" y="2451328"/>
                </a:cubicBezTo>
                <a:cubicBezTo>
                  <a:pt x="900710" y="2444262"/>
                  <a:pt x="805246" y="2432980"/>
                  <a:pt x="710834" y="2414860"/>
                </a:cubicBezTo>
                <a:cubicBezTo>
                  <a:pt x="621103" y="2397537"/>
                  <a:pt x="533126" y="2374289"/>
                  <a:pt x="447957" y="2340784"/>
                </a:cubicBezTo>
                <a:cubicBezTo>
                  <a:pt x="368988" y="2309672"/>
                  <a:pt x="294465" y="2270583"/>
                  <a:pt x="227430" y="2217819"/>
                </a:cubicBezTo>
                <a:cubicBezTo>
                  <a:pt x="131146" y="2141920"/>
                  <a:pt x="63292" y="2046420"/>
                  <a:pt x="28663" y="1928013"/>
                </a:cubicBezTo>
                <a:cubicBezTo>
                  <a:pt x="15209" y="1882086"/>
                  <a:pt x="7254" y="1835134"/>
                  <a:pt x="3978" y="1787384"/>
                </a:cubicBezTo>
                <a:cubicBezTo>
                  <a:pt x="3276" y="1777241"/>
                  <a:pt x="1404" y="1767212"/>
                  <a:pt x="0" y="1757070"/>
                </a:cubicBezTo>
                <a:cubicBezTo>
                  <a:pt x="0" y="1740773"/>
                  <a:pt x="0" y="1724477"/>
                  <a:pt x="0" y="1708294"/>
                </a:cubicBezTo>
                <a:cubicBezTo>
                  <a:pt x="1053" y="1701684"/>
                  <a:pt x="2808" y="1695188"/>
                  <a:pt x="3159" y="1688464"/>
                </a:cubicBezTo>
                <a:cubicBezTo>
                  <a:pt x="7254" y="1611312"/>
                  <a:pt x="20356" y="1535413"/>
                  <a:pt x="39426" y="1460540"/>
                </a:cubicBezTo>
                <a:cubicBezTo>
                  <a:pt x="65398" y="1358658"/>
                  <a:pt x="101314" y="1260080"/>
                  <a:pt x="143313" y="1163782"/>
                </a:cubicBezTo>
                <a:cubicBezTo>
                  <a:pt x="204265" y="1023495"/>
                  <a:pt x="276449" y="889019"/>
                  <a:pt x="355183" y="757963"/>
                </a:cubicBezTo>
                <a:cubicBezTo>
                  <a:pt x="431461" y="631123"/>
                  <a:pt x="514056" y="508728"/>
                  <a:pt x="608819" y="394879"/>
                </a:cubicBezTo>
                <a:cubicBezTo>
                  <a:pt x="673046" y="317841"/>
                  <a:pt x="742188" y="245589"/>
                  <a:pt x="820103" y="182226"/>
                </a:cubicBezTo>
                <a:cubicBezTo>
                  <a:pt x="882576" y="131285"/>
                  <a:pt x="949495" y="87295"/>
                  <a:pt x="1023316" y="54588"/>
                </a:cubicBezTo>
                <a:cubicBezTo>
                  <a:pt x="1083917" y="27807"/>
                  <a:pt x="1146858" y="9915"/>
                  <a:pt x="1212957" y="3647"/>
                </a:cubicBezTo>
                <a:cubicBezTo>
                  <a:pt x="1223837" y="2621"/>
                  <a:pt x="1234601" y="1254"/>
                  <a:pt x="1245481" y="0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8" hasCustomPrompt="1"/>
          </p:nvPr>
        </p:nvSpPr>
        <p:spPr>
          <a:xfrm>
            <a:off x="8645196" y="2469774"/>
            <a:ext cx="1697411" cy="1653474"/>
          </a:xfrm>
          <a:custGeom>
            <a:avLst/>
            <a:gdLst>
              <a:gd name="connsiteX0" fmla="*/ 1248912 w 2526994"/>
              <a:gd name="connsiteY0" fmla="*/ 234404 h 2461584"/>
              <a:gd name="connsiteX1" fmla="*/ 1222583 w 2526994"/>
              <a:gd name="connsiteY1" fmla="*/ 237356 h 2461584"/>
              <a:gd name="connsiteX2" fmla="*/ 1069058 w 2526994"/>
              <a:gd name="connsiteY2" fmla="*/ 278596 h 2461584"/>
              <a:gd name="connsiteX3" fmla="*/ 904547 w 2526994"/>
              <a:gd name="connsiteY3" fmla="*/ 381925 h 2461584"/>
              <a:gd name="connsiteX4" fmla="*/ 733502 w 2526994"/>
              <a:gd name="connsiteY4" fmla="*/ 554079 h 2461584"/>
              <a:gd name="connsiteX5" fmla="*/ 528171 w 2526994"/>
              <a:gd name="connsiteY5" fmla="*/ 848013 h 2461584"/>
              <a:gd name="connsiteX6" fmla="*/ 356652 w 2526994"/>
              <a:gd name="connsiteY6" fmla="*/ 1176544 h 2461584"/>
              <a:gd name="connsiteX7" fmla="*/ 272549 w 2526994"/>
              <a:gd name="connsiteY7" fmla="*/ 1416785 h 2461584"/>
              <a:gd name="connsiteX8" fmla="*/ 243189 w 2526994"/>
              <a:gd name="connsiteY8" fmla="*/ 1601301 h 2461584"/>
              <a:gd name="connsiteX9" fmla="*/ 240632 w 2526994"/>
              <a:gd name="connsiteY9" fmla="*/ 1617354 h 2461584"/>
              <a:gd name="connsiteX10" fmla="*/ 240632 w 2526994"/>
              <a:gd name="connsiteY10" fmla="*/ 1656840 h 2461584"/>
              <a:gd name="connsiteX11" fmla="*/ 243852 w 2526994"/>
              <a:gd name="connsiteY11" fmla="*/ 1681381 h 2461584"/>
              <a:gd name="connsiteX12" fmla="*/ 263836 w 2526994"/>
              <a:gd name="connsiteY12" fmla="*/ 1795228 h 2461584"/>
              <a:gd name="connsiteX13" fmla="*/ 424748 w 2526994"/>
              <a:gd name="connsiteY13" fmla="*/ 2029840 h 2461584"/>
              <a:gd name="connsiteX14" fmla="*/ 603276 w 2526994"/>
              <a:gd name="connsiteY14" fmla="*/ 2129387 h 2461584"/>
              <a:gd name="connsiteX15" fmla="*/ 816088 w 2526994"/>
              <a:gd name="connsiteY15" fmla="*/ 2189354 h 2461584"/>
              <a:gd name="connsiteX16" fmla="*/ 1047464 w 2526994"/>
              <a:gd name="connsiteY16" fmla="*/ 2218877 h 2461584"/>
              <a:gd name="connsiteX17" fmla="*/ 1239536 w 2526994"/>
              <a:gd name="connsiteY17" fmla="*/ 2226258 h 2461584"/>
              <a:gd name="connsiteX18" fmla="*/ 1250617 w 2526994"/>
              <a:gd name="connsiteY18" fmla="*/ 2227180 h 2461584"/>
              <a:gd name="connsiteX19" fmla="*/ 1276378 w 2526994"/>
              <a:gd name="connsiteY19" fmla="*/ 2227180 h 2461584"/>
              <a:gd name="connsiteX20" fmla="*/ 1284049 w 2526994"/>
              <a:gd name="connsiteY20" fmla="*/ 2226258 h 2461584"/>
              <a:gd name="connsiteX21" fmla="*/ 1435016 w 2526994"/>
              <a:gd name="connsiteY21" fmla="*/ 2221645 h 2461584"/>
              <a:gd name="connsiteX22" fmla="*/ 1587120 w 2526994"/>
              <a:gd name="connsiteY22" fmla="*/ 2208544 h 2461584"/>
              <a:gd name="connsiteX23" fmla="*/ 1775403 w 2526994"/>
              <a:gd name="connsiteY23" fmla="*/ 2175608 h 2461584"/>
              <a:gd name="connsiteX24" fmla="*/ 1994846 w 2526994"/>
              <a:gd name="connsiteY24" fmla="*/ 2098111 h 2461584"/>
              <a:gd name="connsiteX25" fmla="*/ 2151590 w 2526994"/>
              <a:gd name="connsiteY25" fmla="*/ 1986848 h 2461584"/>
              <a:gd name="connsiteX26" fmla="*/ 2274145 w 2526994"/>
              <a:gd name="connsiteY26" fmla="*/ 1757863 h 2461584"/>
              <a:gd name="connsiteX27" fmla="*/ 2284847 w 2526994"/>
              <a:gd name="connsiteY27" fmla="*/ 1667727 h 2461584"/>
              <a:gd name="connsiteX28" fmla="*/ 2286362 w 2526994"/>
              <a:gd name="connsiteY28" fmla="*/ 1655087 h 2461584"/>
              <a:gd name="connsiteX29" fmla="*/ 2286362 w 2526994"/>
              <a:gd name="connsiteY29" fmla="*/ 1617354 h 2461584"/>
              <a:gd name="connsiteX30" fmla="*/ 2284942 w 2526994"/>
              <a:gd name="connsiteY30" fmla="*/ 1607298 h 2461584"/>
              <a:gd name="connsiteX31" fmla="*/ 2254540 w 2526994"/>
              <a:gd name="connsiteY31" fmla="*/ 1410142 h 2461584"/>
              <a:gd name="connsiteX32" fmla="*/ 2146949 w 2526994"/>
              <a:gd name="connsiteY32" fmla="*/ 1120175 h 2461584"/>
              <a:gd name="connsiteX33" fmla="*/ 1851171 w 2526994"/>
              <a:gd name="connsiteY33" fmla="*/ 624195 h 2461584"/>
              <a:gd name="connsiteX34" fmla="*/ 1685997 w 2526994"/>
              <a:gd name="connsiteY34" fmla="*/ 435988 h 2461584"/>
              <a:gd name="connsiteX35" fmla="*/ 1501313 w 2526994"/>
              <a:gd name="connsiteY35" fmla="*/ 298616 h 2461584"/>
              <a:gd name="connsiteX36" fmla="*/ 1332541 w 2526994"/>
              <a:gd name="connsiteY36" fmla="*/ 240678 h 2461584"/>
              <a:gd name="connsiteX37" fmla="*/ 1287364 w 2526994"/>
              <a:gd name="connsiteY37" fmla="*/ 235788 h 2461584"/>
              <a:gd name="connsiteX38" fmla="*/ 1279787 w 2526994"/>
              <a:gd name="connsiteY38" fmla="*/ 234404 h 2461584"/>
              <a:gd name="connsiteX39" fmla="*/ 1248912 w 2526994"/>
              <a:gd name="connsiteY39" fmla="*/ 234404 h 2461584"/>
              <a:gd name="connsiteX40" fmla="*/ 1245481 w 2526994"/>
              <a:gd name="connsiteY40" fmla="*/ 0 h 2461584"/>
              <a:gd name="connsiteX41" fmla="*/ 1283620 w 2526994"/>
              <a:gd name="connsiteY41" fmla="*/ 0 h 2461584"/>
              <a:gd name="connsiteX42" fmla="*/ 1292979 w 2526994"/>
              <a:gd name="connsiteY42" fmla="*/ 1710 h 2461584"/>
              <a:gd name="connsiteX43" fmla="*/ 1348783 w 2526994"/>
              <a:gd name="connsiteY43" fmla="*/ 7750 h 2461584"/>
              <a:gd name="connsiteX44" fmla="*/ 1557260 w 2526994"/>
              <a:gd name="connsiteY44" fmla="*/ 79318 h 2461584"/>
              <a:gd name="connsiteX45" fmla="*/ 1785392 w 2526994"/>
              <a:gd name="connsiteY45" fmla="*/ 249008 h 2461584"/>
              <a:gd name="connsiteX46" fmla="*/ 1989423 w 2526994"/>
              <a:gd name="connsiteY46" fmla="*/ 481491 h 2461584"/>
              <a:gd name="connsiteX47" fmla="*/ 2354784 w 2526994"/>
              <a:gd name="connsiteY47" fmla="*/ 1094151 h 2461584"/>
              <a:gd name="connsiteX48" fmla="*/ 2487685 w 2526994"/>
              <a:gd name="connsiteY48" fmla="*/ 1452335 h 2461584"/>
              <a:gd name="connsiteX49" fmla="*/ 2525239 w 2526994"/>
              <a:gd name="connsiteY49" fmla="*/ 1695872 h 2461584"/>
              <a:gd name="connsiteX50" fmla="*/ 2526994 w 2526994"/>
              <a:gd name="connsiteY50" fmla="*/ 1708294 h 2461584"/>
              <a:gd name="connsiteX51" fmla="*/ 2526994 w 2526994"/>
              <a:gd name="connsiteY51" fmla="*/ 1754904 h 2461584"/>
              <a:gd name="connsiteX52" fmla="*/ 2525122 w 2526994"/>
              <a:gd name="connsiteY52" fmla="*/ 1770517 h 2461584"/>
              <a:gd name="connsiteX53" fmla="*/ 2511902 w 2526994"/>
              <a:gd name="connsiteY53" fmla="*/ 1881858 h 2461584"/>
              <a:gd name="connsiteX54" fmla="*/ 2360517 w 2526994"/>
              <a:gd name="connsiteY54" fmla="*/ 2164713 h 2461584"/>
              <a:gd name="connsiteX55" fmla="*/ 2166897 w 2526994"/>
              <a:gd name="connsiteY55" fmla="*/ 2302151 h 2461584"/>
              <a:gd name="connsiteX56" fmla="*/ 1895831 w 2526994"/>
              <a:gd name="connsiteY56" fmla="*/ 2397879 h 2461584"/>
              <a:gd name="connsiteX57" fmla="*/ 1663254 w 2526994"/>
              <a:gd name="connsiteY57" fmla="*/ 2438564 h 2461584"/>
              <a:gd name="connsiteX58" fmla="*/ 1475367 w 2526994"/>
              <a:gd name="connsiteY58" fmla="*/ 2454746 h 2461584"/>
              <a:gd name="connsiteX59" fmla="*/ 1288884 w 2526994"/>
              <a:gd name="connsiteY59" fmla="*/ 2460445 h 2461584"/>
              <a:gd name="connsiteX60" fmla="*/ 1279408 w 2526994"/>
              <a:gd name="connsiteY60" fmla="*/ 2461584 h 2461584"/>
              <a:gd name="connsiteX61" fmla="*/ 1247586 w 2526994"/>
              <a:gd name="connsiteY61" fmla="*/ 2461584 h 2461584"/>
              <a:gd name="connsiteX62" fmla="*/ 1233899 w 2526994"/>
              <a:gd name="connsiteY62" fmla="*/ 2460445 h 2461584"/>
              <a:gd name="connsiteX63" fmla="*/ 996642 w 2526994"/>
              <a:gd name="connsiteY63" fmla="*/ 2451328 h 2461584"/>
              <a:gd name="connsiteX64" fmla="*/ 710834 w 2526994"/>
              <a:gd name="connsiteY64" fmla="*/ 2414860 h 2461584"/>
              <a:gd name="connsiteX65" fmla="*/ 447957 w 2526994"/>
              <a:gd name="connsiteY65" fmla="*/ 2340784 h 2461584"/>
              <a:gd name="connsiteX66" fmla="*/ 227430 w 2526994"/>
              <a:gd name="connsiteY66" fmla="*/ 2217819 h 2461584"/>
              <a:gd name="connsiteX67" fmla="*/ 28663 w 2526994"/>
              <a:gd name="connsiteY67" fmla="*/ 1928013 h 2461584"/>
              <a:gd name="connsiteX68" fmla="*/ 3978 w 2526994"/>
              <a:gd name="connsiteY68" fmla="*/ 1787384 h 2461584"/>
              <a:gd name="connsiteX69" fmla="*/ 0 w 2526994"/>
              <a:gd name="connsiteY69" fmla="*/ 1757070 h 2461584"/>
              <a:gd name="connsiteX70" fmla="*/ 0 w 2526994"/>
              <a:gd name="connsiteY70" fmla="*/ 1708294 h 2461584"/>
              <a:gd name="connsiteX71" fmla="*/ 3159 w 2526994"/>
              <a:gd name="connsiteY71" fmla="*/ 1688464 h 2461584"/>
              <a:gd name="connsiteX72" fmla="*/ 39426 w 2526994"/>
              <a:gd name="connsiteY72" fmla="*/ 1460540 h 2461584"/>
              <a:gd name="connsiteX73" fmla="*/ 143313 w 2526994"/>
              <a:gd name="connsiteY73" fmla="*/ 1163782 h 2461584"/>
              <a:gd name="connsiteX74" fmla="*/ 355183 w 2526994"/>
              <a:gd name="connsiteY74" fmla="*/ 757963 h 2461584"/>
              <a:gd name="connsiteX75" fmla="*/ 608819 w 2526994"/>
              <a:gd name="connsiteY75" fmla="*/ 394879 h 2461584"/>
              <a:gd name="connsiteX76" fmla="*/ 820103 w 2526994"/>
              <a:gd name="connsiteY76" fmla="*/ 182226 h 2461584"/>
              <a:gd name="connsiteX77" fmla="*/ 1023316 w 2526994"/>
              <a:gd name="connsiteY77" fmla="*/ 54588 h 2461584"/>
              <a:gd name="connsiteX78" fmla="*/ 1212957 w 2526994"/>
              <a:gd name="connsiteY78" fmla="*/ 3647 h 2461584"/>
              <a:gd name="connsiteX79" fmla="*/ 1245481 w 2526994"/>
              <a:gd name="connsiteY79" fmla="*/ 0 h 2461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</a:cxnLst>
            <a:rect l="l" t="t" r="r" b="b"/>
            <a:pathLst>
              <a:path w="2526994" h="2461584">
                <a:moveTo>
                  <a:pt x="1248912" y="234404"/>
                </a:moveTo>
                <a:cubicBezTo>
                  <a:pt x="1240104" y="235419"/>
                  <a:pt x="1231391" y="236526"/>
                  <a:pt x="1222583" y="237356"/>
                </a:cubicBezTo>
                <a:cubicBezTo>
                  <a:pt x="1169072" y="242431"/>
                  <a:pt x="1118118" y="256915"/>
                  <a:pt x="1069058" y="278596"/>
                </a:cubicBezTo>
                <a:cubicBezTo>
                  <a:pt x="1009296" y="305074"/>
                  <a:pt x="955122" y="340686"/>
                  <a:pt x="904547" y="381925"/>
                </a:cubicBezTo>
                <a:cubicBezTo>
                  <a:pt x="841471" y="433220"/>
                  <a:pt x="785497" y="491712"/>
                  <a:pt x="733502" y="554079"/>
                </a:cubicBezTo>
                <a:cubicBezTo>
                  <a:pt x="656787" y="646245"/>
                  <a:pt x="589922" y="745330"/>
                  <a:pt x="528171" y="848013"/>
                </a:cubicBezTo>
                <a:cubicBezTo>
                  <a:pt x="464431" y="954110"/>
                  <a:pt x="405995" y="1062975"/>
                  <a:pt x="356652" y="1176544"/>
                </a:cubicBezTo>
                <a:cubicBezTo>
                  <a:pt x="322651" y="1254503"/>
                  <a:pt x="293575" y="1334306"/>
                  <a:pt x="272549" y="1416785"/>
                </a:cubicBezTo>
                <a:cubicBezTo>
                  <a:pt x="257112" y="1477398"/>
                  <a:pt x="246504" y="1538842"/>
                  <a:pt x="243189" y="1601301"/>
                </a:cubicBezTo>
                <a:cubicBezTo>
                  <a:pt x="242905" y="1606744"/>
                  <a:pt x="241485" y="1612003"/>
                  <a:pt x="240632" y="1617354"/>
                </a:cubicBezTo>
                <a:cubicBezTo>
                  <a:pt x="240632" y="1630454"/>
                  <a:pt x="240632" y="1643647"/>
                  <a:pt x="240632" y="1656840"/>
                </a:cubicBezTo>
                <a:cubicBezTo>
                  <a:pt x="241769" y="1665051"/>
                  <a:pt x="243284" y="1673170"/>
                  <a:pt x="243852" y="1681381"/>
                </a:cubicBezTo>
                <a:cubicBezTo>
                  <a:pt x="246504" y="1720037"/>
                  <a:pt x="252944" y="1758048"/>
                  <a:pt x="263836" y="1795228"/>
                </a:cubicBezTo>
                <a:cubicBezTo>
                  <a:pt x="291870" y="1891084"/>
                  <a:pt x="346802" y="1968396"/>
                  <a:pt x="424748" y="2029840"/>
                </a:cubicBezTo>
                <a:cubicBezTo>
                  <a:pt x="479017" y="2072556"/>
                  <a:pt x="539347" y="2104200"/>
                  <a:pt x="603276" y="2129387"/>
                </a:cubicBezTo>
                <a:cubicBezTo>
                  <a:pt x="672224" y="2156510"/>
                  <a:pt x="743446" y="2175331"/>
                  <a:pt x="816088" y="2189354"/>
                </a:cubicBezTo>
                <a:cubicBezTo>
                  <a:pt x="892519" y="2204023"/>
                  <a:pt x="969802" y="2213157"/>
                  <a:pt x="1047464" y="2218877"/>
                </a:cubicBezTo>
                <a:cubicBezTo>
                  <a:pt x="1111393" y="2223490"/>
                  <a:pt x="1175512" y="2225612"/>
                  <a:pt x="1239536" y="2226258"/>
                </a:cubicBezTo>
                <a:cubicBezTo>
                  <a:pt x="1243229" y="2226350"/>
                  <a:pt x="1246923" y="2226903"/>
                  <a:pt x="1250617" y="2227180"/>
                </a:cubicBezTo>
                <a:cubicBezTo>
                  <a:pt x="1259235" y="2227180"/>
                  <a:pt x="1267759" y="2227180"/>
                  <a:pt x="1276378" y="2227180"/>
                </a:cubicBezTo>
                <a:cubicBezTo>
                  <a:pt x="1278935" y="2226903"/>
                  <a:pt x="1281492" y="2226350"/>
                  <a:pt x="1284049" y="2226258"/>
                </a:cubicBezTo>
                <a:cubicBezTo>
                  <a:pt x="1334340" y="2224781"/>
                  <a:pt x="1384631" y="2223951"/>
                  <a:pt x="1435016" y="2221645"/>
                </a:cubicBezTo>
                <a:cubicBezTo>
                  <a:pt x="1485781" y="2219431"/>
                  <a:pt x="1536545" y="2214725"/>
                  <a:pt x="1587120" y="2208544"/>
                </a:cubicBezTo>
                <a:cubicBezTo>
                  <a:pt x="1650481" y="2200887"/>
                  <a:pt x="1713274" y="2190369"/>
                  <a:pt x="1775403" y="2175608"/>
                </a:cubicBezTo>
                <a:cubicBezTo>
                  <a:pt x="1851266" y="2157433"/>
                  <a:pt x="1924950" y="2133261"/>
                  <a:pt x="1994846" y="2098111"/>
                </a:cubicBezTo>
                <a:cubicBezTo>
                  <a:pt x="2052713" y="2068957"/>
                  <a:pt x="2105845" y="2033069"/>
                  <a:pt x="2151590" y="1986848"/>
                </a:cubicBezTo>
                <a:cubicBezTo>
                  <a:pt x="2215046" y="1922636"/>
                  <a:pt x="2255487" y="1846062"/>
                  <a:pt x="2274145" y="1757863"/>
                </a:cubicBezTo>
                <a:cubicBezTo>
                  <a:pt x="2280490" y="1728156"/>
                  <a:pt x="2284752" y="1698172"/>
                  <a:pt x="2284847" y="1667727"/>
                </a:cubicBezTo>
                <a:cubicBezTo>
                  <a:pt x="2284847" y="1663483"/>
                  <a:pt x="2285794" y="1659331"/>
                  <a:pt x="2286362" y="1655087"/>
                </a:cubicBezTo>
                <a:cubicBezTo>
                  <a:pt x="2286362" y="1642540"/>
                  <a:pt x="2286362" y="1629901"/>
                  <a:pt x="2286362" y="1617354"/>
                </a:cubicBezTo>
                <a:cubicBezTo>
                  <a:pt x="2285889" y="1614033"/>
                  <a:pt x="2285036" y="1610711"/>
                  <a:pt x="2284942" y="1607298"/>
                </a:cubicBezTo>
                <a:cubicBezTo>
                  <a:pt x="2283805" y="1540226"/>
                  <a:pt x="2271303" y="1474815"/>
                  <a:pt x="2254540" y="1410142"/>
                </a:cubicBezTo>
                <a:cubicBezTo>
                  <a:pt x="2228684" y="1309857"/>
                  <a:pt x="2191274" y="1213724"/>
                  <a:pt x="2146949" y="1120175"/>
                </a:cubicBezTo>
                <a:cubicBezTo>
                  <a:pt x="2064173" y="945438"/>
                  <a:pt x="1966906" y="779281"/>
                  <a:pt x="1851171" y="624195"/>
                </a:cubicBezTo>
                <a:cubicBezTo>
                  <a:pt x="1801164" y="557123"/>
                  <a:pt x="1746706" y="493742"/>
                  <a:pt x="1685997" y="435988"/>
                </a:cubicBezTo>
                <a:cubicBezTo>
                  <a:pt x="1630024" y="382663"/>
                  <a:pt x="1569599" y="335242"/>
                  <a:pt x="1501313" y="298616"/>
                </a:cubicBezTo>
                <a:cubicBezTo>
                  <a:pt x="1448181" y="270108"/>
                  <a:pt x="1392302" y="249627"/>
                  <a:pt x="1332541" y="240678"/>
                </a:cubicBezTo>
                <a:cubicBezTo>
                  <a:pt x="1317576" y="238371"/>
                  <a:pt x="1302423" y="237449"/>
                  <a:pt x="1287364" y="235788"/>
                </a:cubicBezTo>
                <a:cubicBezTo>
                  <a:pt x="1284807" y="235603"/>
                  <a:pt x="1282344" y="234865"/>
                  <a:pt x="1279787" y="234404"/>
                </a:cubicBezTo>
                <a:cubicBezTo>
                  <a:pt x="1269464" y="234404"/>
                  <a:pt x="1259235" y="234404"/>
                  <a:pt x="1248912" y="234404"/>
                </a:cubicBezTo>
                <a:close/>
                <a:moveTo>
                  <a:pt x="1245481" y="0"/>
                </a:moveTo>
                <a:cubicBezTo>
                  <a:pt x="1258233" y="0"/>
                  <a:pt x="1270868" y="0"/>
                  <a:pt x="1283620" y="0"/>
                </a:cubicBezTo>
                <a:cubicBezTo>
                  <a:pt x="1286778" y="570"/>
                  <a:pt x="1289820" y="1482"/>
                  <a:pt x="1292979" y="1710"/>
                </a:cubicBezTo>
                <a:cubicBezTo>
                  <a:pt x="1311580" y="3761"/>
                  <a:pt x="1330299" y="4901"/>
                  <a:pt x="1348783" y="7750"/>
                </a:cubicBezTo>
                <a:cubicBezTo>
                  <a:pt x="1422604" y="18804"/>
                  <a:pt x="1491629" y="44104"/>
                  <a:pt x="1557260" y="79318"/>
                </a:cubicBezTo>
                <a:cubicBezTo>
                  <a:pt x="1641610" y="124561"/>
                  <a:pt x="1716250" y="183137"/>
                  <a:pt x="1785392" y="249008"/>
                </a:cubicBezTo>
                <a:cubicBezTo>
                  <a:pt x="1860383" y="320348"/>
                  <a:pt x="1927652" y="398640"/>
                  <a:pt x="1989423" y="481491"/>
                </a:cubicBezTo>
                <a:cubicBezTo>
                  <a:pt x="2132385" y="673061"/>
                  <a:pt x="2252534" y="878307"/>
                  <a:pt x="2354784" y="1094151"/>
                </a:cubicBezTo>
                <a:cubicBezTo>
                  <a:pt x="2409536" y="1209709"/>
                  <a:pt x="2455747" y="1328458"/>
                  <a:pt x="2487685" y="1452335"/>
                </a:cubicBezTo>
                <a:cubicBezTo>
                  <a:pt x="2508393" y="1532222"/>
                  <a:pt x="2523835" y="1613021"/>
                  <a:pt x="2525239" y="1695872"/>
                </a:cubicBezTo>
                <a:cubicBezTo>
                  <a:pt x="2525356" y="1700089"/>
                  <a:pt x="2526409" y="1704191"/>
                  <a:pt x="2526994" y="1708294"/>
                </a:cubicBezTo>
                <a:cubicBezTo>
                  <a:pt x="2526994" y="1723793"/>
                  <a:pt x="2526994" y="1739406"/>
                  <a:pt x="2526994" y="1754904"/>
                </a:cubicBezTo>
                <a:cubicBezTo>
                  <a:pt x="2526292" y="1760147"/>
                  <a:pt x="2525122" y="1765275"/>
                  <a:pt x="2525122" y="1770517"/>
                </a:cubicBezTo>
                <a:cubicBezTo>
                  <a:pt x="2525005" y="1808125"/>
                  <a:pt x="2519741" y="1845163"/>
                  <a:pt x="2511902" y="1881858"/>
                </a:cubicBezTo>
                <a:cubicBezTo>
                  <a:pt x="2488855" y="1990806"/>
                  <a:pt x="2438900" y="2085395"/>
                  <a:pt x="2360517" y="2164713"/>
                </a:cubicBezTo>
                <a:cubicBezTo>
                  <a:pt x="2304010" y="2221808"/>
                  <a:pt x="2238379" y="2266139"/>
                  <a:pt x="2166897" y="2302151"/>
                </a:cubicBezTo>
                <a:cubicBezTo>
                  <a:pt x="2080559" y="2345571"/>
                  <a:pt x="1989540" y="2375429"/>
                  <a:pt x="1895831" y="2397879"/>
                </a:cubicBezTo>
                <a:cubicBezTo>
                  <a:pt x="1819085" y="2416113"/>
                  <a:pt x="1741520" y="2429105"/>
                  <a:pt x="1663254" y="2438564"/>
                </a:cubicBezTo>
                <a:cubicBezTo>
                  <a:pt x="1600781" y="2446199"/>
                  <a:pt x="1538074" y="2452011"/>
                  <a:pt x="1475367" y="2454746"/>
                </a:cubicBezTo>
                <a:cubicBezTo>
                  <a:pt x="1413128" y="2457595"/>
                  <a:pt x="1351006" y="2458621"/>
                  <a:pt x="1288884" y="2460445"/>
                </a:cubicBezTo>
                <a:cubicBezTo>
                  <a:pt x="1285725" y="2460558"/>
                  <a:pt x="1282567" y="2461242"/>
                  <a:pt x="1279408" y="2461584"/>
                </a:cubicBezTo>
                <a:cubicBezTo>
                  <a:pt x="1268762" y="2461584"/>
                  <a:pt x="1258233" y="2461584"/>
                  <a:pt x="1247586" y="2461584"/>
                </a:cubicBezTo>
                <a:cubicBezTo>
                  <a:pt x="1243024" y="2461242"/>
                  <a:pt x="1238461" y="2460558"/>
                  <a:pt x="1233899" y="2460445"/>
                </a:cubicBezTo>
                <a:cubicBezTo>
                  <a:pt x="1154813" y="2459647"/>
                  <a:pt x="1075611" y="2457026"/>
                  <a:pt x="996642" y="2451328"/>
                </a:cubicBezTo>
                <a:cubicBezTo>
                  <a:pt x="900710" y="2444262"/>
                  <a:pt x="805246" y="2432980"/>
                  <a:pt x="710834" y="2414860"/>
                </a:cubicBezTo>
                <a:cubicBezTo>
                  <a:pt x="621103" y="2397537"/>
                  <a:pt x="533126" y="2374289"/>
                  <a:pt x="447957" y="2340784"/>
                </a:cubicBezTo>
                <a:cubicBezTo>
                  <a:pt x="368988" y="2309672"/>
                  <a:pt x="294465" y="2270583"/>
                  <a:pt x="227430" y="2217819"/>
                </a:cubicBezTo>
                <a:cubicBezTo>
                  <a:pt x="131146" y="2141920"/>
                  <a:pt x="63292" y="2046420"/>
                  <a:pt x="28663" y="1928013"/>
                </a:cubicBezTo>
                <a:cubicBezTo>
                  <a:pt x="15209" y="1882086"/>
                  <a:pt x="7254" y="1835134"/>
                  <a:pt x="3978" y="1787384"/>
                </a:cubicBezTo>
                <a:cubicBezTo>
                  <a:pt x="3276" y="1777241"/>
                  <a:pt x="1404" y="1767212"/>
                  <a:pt x="0" y="1757070"/>
                </a:cubicBezTo>
                <a:cubicBezTo>
                  <a:pt x="0" y="1740773"/>
                  <a:pt x="0" y="1724477"/>
                  <a:pt x="0" y="1708294"/>
                </a:cubicBezTo>
                <a:cubicBezTo>
                  <a:pt x="1053" y="1701684"/>
                  <a:pt x="2808" y="1695188"/>
                  <a:pt x="3159" y="1688464"/>
                </a:cubicBezTo>
                <a:cubicBezTo>
                  <a:pt x="7254" y="1611312"/>
                  <a:pt x="20356" y="1535413"/>
                  <a:pt x="39426" y="1460540"/>
                </a:cubicBezTo>
                <a:cubicBezTo>
                  <a:pt x="65398" y="1358658"/>
                  <a:pt x="101314" y="1260080"/>
                  <a:pt x="143313" y="1163782"/>
                </a:cubicBezTo>
                <a:cubicBezTo>
                  <a:pt x="204265" y="1023495"/>
                  <a:pt x="276449" y="889019"/>
                  <a:pt x="355183" y="757963"/>
                </a:cubicBezTo>
                <a:cubicBezTo>
                  <a:pt x="431461" y="631123"/>
                  <a:pt x="514056" y="508728"/>
                  <a:pt x="608819" y="394879"/>
                </a:cubicBezTo>
                <a:cubicBezTo>
                  <a:pt x="673046" y="317841"/>
                  <a:pt x="742188" y="245589"/>
                  <a:pt x="820103" y="182226"/>
                </a:cubicBezTo>
                <a:cubicBezTo>
                  <a:pt x="882576" y="131285"/>
                  <a:pt x="949495" y="87295"/>
                  <a:pt x="1023316" y="54588"/>
                </a:cubicBezTo>
                <a:cubicBezTo>
                  <a:pt x="1083917" y="27807"/>
                  <a:pt x="1146858" y="9915"/>
                  <a:pt x="1212957" y="3647"/>
                </a:cubicBezTo>
                <a:cubicBezTo>
                  <a:pt x="1223837" y="2621"/>
                  <a:pt x="1234601" y="1254"/>
                  <a:pt x="1245481" y="0"/>
                </a:cubicBezTo>
                <a:close/>
              </a:path>
            </a:pathLst>
          </a:custGeom>
          <a:pattFill prst="pct10">
            <a:fgClr>
              <a:schemeClr val="tx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algn="ctr">
              <a:defRPr sz="1600" b="0" i="0">
                <a:latin typeface="Titillium" charset="0"/>
                <a:ea typeface="Titillium" charset="0"/>
                <a:cs typeface="Titillium" charset="0"/>
              </a:defRPr>
            </a:lvl1pPr>
          </a:lstStyle>
          <a:p>
            <a:r>
              <a:rPr lang="en-US" dirty="0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4251690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279483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128">
          <p15:clr>
            <a:srgbClr val="FBAE40"/>
          </p15:clr>
        </p15:guide>
        <p15:guide id="4" pos="6552">
          <p15:clr>
            <a:srgbClr val="FBAE40"/>
          </p15:clr>
        </p15:guide>
        <p15:guide id="5" orient="horz" pos="480">
          <p15:clr>
            <a:srgbClr val="FBAE40"/>
          </p15:clr>
        </p15:guide>
        <p15:guide id="6" orient="horz" pos="384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 txBox="1">
            <a:spLocks/>
          </p:cNvSpPr>
          <p:nvPr userDrawn="1"/>
        </p:nvSpPr>
        <p:spPr>
          <a:xfrm>
            <a:off x="2890223" y="1308213"/>
            <a:ext cx="5295225" cy="49548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b="1" dirty="0">
              <a:solidFill>
                <a:srgbClr val="000000"/>
              </a:solidFill>
              <a:latin typeface="Playfair Display" charset="0"/>
              <a:ea typeface="Playfair Display" charset="0"/>
              <a:cs typeface="Playfair Display" charset="0"/>
            </a:endParaRP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2990625" y="2068222"/>
            <a:ext cx="691243" cy="0"/>
          </a:xfrm>
          <a:prstGeom prst="line">
            <a:avLst/>
          </a:prstGeom>
          <a:ln w="25400">
            <a:solidFill>
              <a:srgbClr val="FEC8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990850" y="2237572"/>
            <a:ext cx="6153150" cy="3538537"/>
          </a:xfrm>
          <a:prstGeom prst="rect">
            <a:avLst/>
          </a:prstGeom>
        </p:spPr>
        <p:txBody>
          <a:bodyPr/>
          <a:lstStyle>
            <a:lvl1pPr>
              <a:buClr>
                <a:srgbClr val="FEC82C"/>
              </a:buCl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rgbClr val="FEC82C"/>
              </a:buCl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rgbClr val="FEC82C"/>
              </a:buCl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rgbClr val="FEC82C"/>
              </a:buCl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rgbClr val="FEC82C"/>
              </a:buClr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327108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26" Type="http://schemas.openxmlformats.org/officeDocument/2006/relationships/slideLayout" Target="../slideLayouts/slideLayout47.xml"/><Relationship Id="rId39" Type="http://schemas.openxmlformats.org/officeDocument/2006/relationships/slideLayout" Target="../slideLayouts/slideLayout60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34" Type="http://schemas.openxmlformats.org/officeDocument/2006/relationships/slideLayout" Target="../slideLayouts/slideLayout55.xml"/><Relationship Id="rId42" Type="http://schemas.openxmlformats.org/officeDocument/2006/relationships/slideLayout" Target="../slideLayouts/slideLayout63.xml"/><Relationship Id="rId47" Type="http://schemas.openxmlformats.org/officeDocument/2006/relationships/slideLayout" Target="../slideLayouts/slideLayout68.xml"/><Relationship Id="rId50" Type="http://schemas.openxmlformats.org/officeDocument/2006/relationships/tags" Target="../tags/tag1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5" Type="http://schemas.openxmlformats.org/officeDocument/2006/relationships/slideLayout" Target="../slideLayouts/slideLayout46.xml"/><Relationship Id="rId33" Type="http://schemas.openxmlformats.org/officeDocument/2006/relationships/slideLayout" Target="../slideLayouts/slideLayout54.xml"/><Relationship Id="rId38" Type="http://schemas.openxmlformats.org/officeDocument/2006/relationships/slideLayout" Target="../slideLayouts/slideLayout59.xml"/><Relationship Id="rId46" Type="http://schemas.openxmlformats.org/officeDocument/2006/relationships/slideLayout" Target="../slideLayouts/slideLayout67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29" Type="http://schemas.openxmlformats.org/officeDocument/2006/relationships/slideLayout" Target="../slideLayouts/slideLayout50.xml"/><Relationship Id="rId41" Type="http://schemas.openxmlformats.org/officeDocument/2006/relationships/slideLayout" Target="../slideLayouts/slideLayout62.xml"/><Relationship Id="rId54" Type="http://schemas.openxmlformats.org/officeDocument/2006/relationships/image" Target="../media/image4.emf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slideLayout" Target="../slideLayouts/slideLayout45.xml"/><Relationship Id="rId32" Type="http://schemas.openxmlformats.org/officeDocument/2006/relationships/slideLayout" Target="../slideLayouts/slideLayout53.xml"/><Relationship Id="rId37" Type="http://schemas.openxmlformats.org/officeDocument/2006/relationships/slideLayout" Target="../slideLayouts/slideLayout58.xml"/><Relationship Id="rId40" Type="http://schemas.openxmlformats.org/officeDocument/2006/relationships/slideLayout" Target="../slideLayouts/slideLayout61.xml"/><Relationship Id="rId45" Type="http://schemas.openxmlformats.org/officeDocument/2006/relationships/slideLayout" Target="../slideLayouts/slideLayout66.xml"/><Relationship Id="rId53" Type="http://schemas.openxmlformats.org/officeDocument/2006/relationships/image" Target="../media/image3.emf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slideLayout" Target="../slideLayouts/slideLayout44.xml"/><Relationship Id="rId28" Type="http://schemas.openxmlformats.org/officeDocument/2006/relationships/slideLayout" Target="../slideLayouts/slideLayout49.xml"/><Relationship Id="rId36" Type="http://schemas.openxmlformats.org/officeDocument/2006/relationships/slideLayout" Target="../slideLayouts/slideLayout57.xml"/><Relationship Id="rId49" Type="http://schemas.openxmlformats.org/officeDocument/2006/relationships/vmlDrawing" Target="../drawings/vmlDrawing1.v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31" Type="http://schemas.openxmlformats.org/officeDocument/2006/relationships/slideLayout" Target="../slideLayouts/slideLayout52.xml"/><Relationship Id="rId44" Type="http://schemas.openxmlformats.org/officeDocument/2006/relationships/slideLayout" Target="../slideLayouts/slideLayout65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Relationship Id="rId27" Type="http://schemas.openxmlformats.org/officeDocument/2006/relationships/slideLayout" Target="../slideLayouts/slideLayout48.xml"/><Relationship Id="rId30" Type="http://schemas.openxmlformats.org/officeDocument/2006/relationships/slideLayout" Target="../slideLayouts/slideLayout51.xml"/><Relationship Id="rId35" Type="http://schemas.openxmlformats.org/officeDocument/2006/relationships/slideLayout" Target="../slideLayouts/slideLayout56.xml"/><Relationship Id="rId43" Type="http://schemas.openxmlformats.org/officeDocument/2006/relationships/slideLayout" Target="../slideLayouts/slideLayout64.xml"/><Relationship Id="rId48" Type="http://schemas.openxmlformats.org/officeDocument/2006/relationships/theme" Target="../theme/theme3.xml"/><Relationship Id="rId8" Type="http://schemas.openxmlformats.org/officeDocument/2006/relationships/slideLayout" Target="../slideLayouts/slideLayout29.xml"/><Relationship Id="rId51" Type="http://schemas.openxmlformats.org/officeDocument/2006/relationships/tags" Target="../tags/tag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slideLayout" Target="../slideLayouts/slideLayout86.xml"/><Relationship Id="rId26" Type="http://schemas.openxmlformats.org/officeDocument/2006/relationships/theme" Target="../theme/theme4.xml"/><Relationship Id="rId3" Type="http://schemas.openxmlformats.org/officeDocument/2006/relationships/slideLayout" Target="../slideLayouts/slideLayout71.xml"/><Relationship Id="rId21" Type="http://schemas.openxmlformats.org/officeDocument/2006/relationships/slideLayout" Target="../slideLayouts/slideLayout89.xml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slideLayout" Target="../slideLayouts/slideLayout85.xml"/><Relationship Id="rId25" Type="http://schemas.openxmlformats.org/officeDocument/2006/relationships/slideLayout" Target="../slideLayouts/slideLayout93.xml"/><Relationship Id="rId2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84.xml"/><Relationship Id="rId20" Type="http://schemas.openxmlformats.org/officeDocument/2006/relationships/slideLayout" Target="../slideLayouts/slideLayout88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24" Type="http://schemas.openxmlformats.org/officeDocument/2006/relationships/slideLayout" Target="../slideLayouts/slideLayout92.xml"/><Relationship Id="rId32" Type="http://schemas.openxmlformats.org/officeDocument/2006/relationships/image" Target="../media/image4.emf"/><Relationship Id="rId5" Type="http://schemas.openxmlformats.org/officeDocument/2006/relationships/slideLayout" Target="../slideLayouts/slideLayout73.xml"/><Relationship Id="rId15" Type="http://schemas.openxmlformats.org/officeDocument/2006/relationships/slideLayout" Target="../slideLayouts/slideLayout83.xml"/><Relationship Id="rId23" Type="http://schemas.openxmlformats.org/officeDocument/2006/relationships/slideLayout" Target="../slideLayouts/slideLayout91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78.xml"/><Relationship Id="rId19" Type="http://schemas.openxmlformats.org/officeDocument/2006/relationships/slideLayout" Target="../slideLayouts/slideLayout87.xml"/><Relationship Id="rId31" Type="http://schemas.openxmlformats.org/officeDocument/2006/relationships/image" Target="../media/image9.emf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Relationship Id="rId22" Type="http://schemas.openxmlformats.org/officeDocument/2006/relationships/slideLayout" Target="../slideLayouts/slideLayout90.xml"/><Relationship Id="rId27" Type="http://schemas.openxmlformats.org/officeDocument/2006/relationships/vmlDrawing" Target="../drawings/vmlDrawing2.vml"/><Relationship Id="rId30" Type="http://schemas.openxmlformats.org/officeDocument/2006/relationships/oleObject" Target="../embeddings/oleObject2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slideLayout" Target="../slideLayouts/slideLayout106.xml"/><Relationship Id="rId18" Type="http://schemas.openxmlformats.org/officeDocument/2006/relationships/slideLayout" Target="../slideLayouts/slideLayout111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96.xml"/><Relationship Id="rId21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17" Type="http://schemas.openxmlformats.org/officeDocument/2006/relationships/slideLayout" Target="../slideLayouts/slideLayout110.xml"/><Relationship Id="rId25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95.xml"/><Relationship Id="rId16" Type="http://schemas.openxmlformats.org/officeDocument/2006/relationships/slideLayout" Target="../slideLayouts/slideLayout109.xml"/><Relationship Id="rId20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24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98.xml"/><Relationship Id="rId15" Type="http://schemas.openxmlformats.org/officeDocument/2006/relationships/slideLayout" Target="../slideLayouts/slideLayout108.xml"/><Relationship Id="rId23" Type="http://schemas.openxmlformats.org/officeDocument/2006/relationships/slideLayout" Target="../slideLayouts/slideLayout116.xml"/><Relationship Id="rId10" Type="http://schemas.openxmlformats.org/officeDocument/2006/relationships/slideLayout" Target="../slideLayouts/slideLayout103.xml"/><Relationship Id="rId19" Type="http://schemas.openxmlformats.org/officeDocument/2006/relationships/slideLayout" Target="../slideLayouts/slideLayout112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slideLayout" Target="../slideLayouts/slideLayout107.xml"/><Relationship Id="rId22" Type="http://schemas.openxmlformats.org/officeDocument/2006/relationships/slideLayout" Target="../slideLayouts/slideLayout115.xml"/><Relationship Id="rId27" Type="http://schemas.openxmlformats.org/officeDocument/2006/relationships/image" Target="../media/image1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CDF246-3A21-4EE2-ACF6-56C0200E008B}" type="datetimeFigureOut">
              <a:rPr lang="da-DK" smtClean="0"/>
              <a:t>26-10-2020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09A41D-7102-4A03-B33F-93E7F5EC502C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64711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8263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50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" name="think-cell Slide" r:id="rId52" imgW="338" imgH="338" progId="TCLayout.ActiveDocument.1">
                  <p:embed/>
                </p:oleObj>
              </mc:Choice>
              <mc:Fallback>
                <p:oleObj name="think-cell Slide" r:id="rId52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ktangel 6" hidden="1"/>
          <p:cNvSpPr/>
          <p:nvPr userDrawn="1">
            <p:custDataLst>
              <p:tags r:id="rId5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a-DK" sz="3400" dirty="0" err="1">
              <a:solidFill>
                <a:prstClr val="white"/>
              </a:solidFill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2" name="Pladsholder til titel 1">
            <a:extLst>
              <a:ext uri="{FF2B5EF4-FFF2-40B4-BE49-F238E27FC236}">
                <a16:creationId xmlns="" xmlns:a16="http://schemas.microsoft.com/office/drawing/2014/main" id="{066150EE-6446-4C2A-93E5-78ADCF60C8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3688"/>
            <a:ext cx="10677546" cy="8048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a-DK" dirty="0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="" xmlns:a16="http://schemas.microsoft.com/office/drawing/2014/main" id="{798124ED-D0B1-4980-9F61-2B45B932A3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1978" y="1920521"/>
            <a:ext cx="10677546" cy="38040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a-DK" dirty="0"/>
              <a:t>Klik for at redigere teksttypografierne i masteren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="" xmlns:a16="http://schemas.microsoft.com/office/drawing/2014/main" id="{C23CD8CE-1BA2-44B1-AE21-F7CA022813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588" y="6380955"/>
            <a:ext cx="324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‹nr.›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5" name="Pladsholder til sidefod 4">
            <a:extLst>
              <a:ext uri="{FF2B5EF4-FFF2-40B4-BE49-F238E27FC236}">
                <a16:creationId xmlns="" xmlns:a16="http://schemas.microsoft.com/office/drawing/2014/main" id="{C272FF20-5656-4B4D-91CF-B24189BA86A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cap="all" baseline="0">
                <a:solidFill>
                  <a:schemeClr val="tx1"/>
                </a:solidFill>
              </a:defRPr>
            </a:lvl1pPr>
          </a:lstStyle>
          <a:p>
            <a:r>
              <a:rPr lang="da-DK" dirty="0">
                <a:solidFill>
                  <a:prstClr val="black"/>
                </a:solidFill>
              </a:rPr>
              <a:t>Fælles introduktionsmøde for bestyrelserne i </a:t>
            </a:r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="" xmlns:a16="http://schemas.microsoft.com/office/drawing/2014/main" id="{ABDDE970-29D3-41AF-998D-125AF4AA72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85377" y="6380955"/>
            <a:ext cx="720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DC1EF374-20B7-B84E-BC46-386CEF4B23B8}" type="datetime1">
              <a:rPr lang="da-DK" smtClean="0">
                <a:solidFill>
                  <a:prstClr val="black"/>
                </a:solidFill>
              </a:rPr>
              <a:pPr/>
              <a:t>26-10-2020</a:t>
            </a:fld>
            <a:endParaRPr lang="da-DK" dirty="0">
              <a:solidFill>
                <a:prstClr val="black"/>
              </a:solidFill>
            </a:endParaRPr>
          </a:p>
        </p:txBody>
      </p:sp>
      <p:pic>
        <p:nvPicPr>
          <p:cNvPr id="10" name="Billede 9">
            <a:extLst>
              <a:ext uri="{FF2B5EF4-FFF2-40B4-BE49-F238E27FC236}">
                <a16:creationId xmlns="" xmlns:a16="http://schemas.microsoft.com/office/drawing/2014/main" id="{90C38975-797F-4E46-92B2-62A57E8906BC}"/>
              </a:ext>
            </a:extLst>
          </p:cNvPr>
          <p:cNvPicPr>
            <a:picLocks noChangeAspect="1"/>
          </p:cNvPicPr>
          <p:nvPr userDrawn="1"/>
        </p:nvPicPr>
        <p:blipFill>
          <a:blip r:embed="rId5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3400" y="6393180"/>
            <a:ext cx="957600" cy="183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673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  <p:sldLayoutId id="2147483685" r:id="rId14"/>
    <p:sldLayoutId id="2147483686" r:id="rId15"/>
    <p:sldLayoutId id="2147483687" r:id="rId16"/>
    <p:sldLayoutId id="2147483688" r:id="rId17"/>
    <p:sldLayoutId id="2147483689" r:id="rId18"/>
    <p:sldLayoutId id="2147483690" r:id="rId19"/>
    <p:sldLayoutId id="2147483691" r:id="rId20"/>
    <p:sldLayoutId id="2147483692" r:id="rId21"/>
    <p:sldLayoutId id="2147483693" r:id="rId22"/>
    <p:sldLayoutId id="2147483694" r:id="rId23"/>
    <p:sldLayoutId id="2147483695" r:id="rId24"/>
    <p:sldLayoutId id="2147483696" r:id="rId25"/>
    <p:sldLayoutId id="2147483697" r:id="rId26"/>
    <p:sldLayoutId id="2147483698" r:id="rId27"/>
    <p:sldLayoutId id="2147483699" r:id="rId28"/>
    <p:sldLayoutId id="2147483700" r:id="rId29"/>
    <p:sldLayoutId id="2147483701" r:id="rId30"/>
    <p:sldLayoutId id="2147483702" r:id="rId31"/>
    <p:sldLayoutId id="2147483703" r:id="rId32"/>
    <p:sldLayoutId id="2147483704" r:id="rId33"/>
    <p:sldLayoutId id="2147483705" r:id="rId34"/>
    <p:sldLayoutId id="2147483706" r:id="rId35"/>
    <p:sldLayoutId id="2147483707" r:id="rId36"/>
    <p:sldLayoutId id="2147483708" r:id="rId37"/>
    <p:sldLayoutId id="2147483709" r:id="rId38"/>
    <p:sldLayoutId id="2147483710" r:id="rId39"/>
    <p:sldLayoutId id="2147483711" r:id="rId40"/>
    <p:sldLayoutId id="2147483712" r:id="rId41"/>
    <p:sldLayoutId id="2147483713" r:id="rId42"/>
    <p:sldLayoutId id="2147483714" r:id="rId43"/>
    <p:sldLayoutId id="2147483715" r:id="rId44"/>
    <p:sldLayoutId id="2147483716" r:id="rId45"/>
    <p:sldLayoutId id="2147483717" r:id="rId46"/>
    <p:sldLayoutId id="2147483718" r:id="rId4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1600" indent="-201600" algn="l" defTabSz="914400" rtl="0" eaLnBrk="1" latinLnBrk="0" hangingPunct="1">
        <a:lnSpc>
          <a:spcPct val="125000"/>
        </a:lnSpc>
        <a:spcBef>
          <a:spcPts val="1000"/>
        </a:spcBef>
        <a:buSzPct val="11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58800" indent="-201600" algn="l" defTabSz="914400" rtl="0" eaLnBrk="1" latinLnBrk="0" hangingPunct="1">
        <a:lnSpc>
          <a:spcPct val="125000"/>
        </a:lnSpc>
        <a:spcBef>
          <a:spcPts val="800"/>
        </a:spcBef>
        <a:buFont typeface="Verdana" panose="020B060403050404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16000" indent="-201600" algn="l" defTabSz="914400" rtl="0" eaLnBrk="1" latinLnBrk="0" hangingPunct="1">
        <a:lnSpc>
          <a:spcPct val="125000"/>
        </a:lnSpc>
        <a:spcBef>
          <a:spcPts val="800"/>
        </a:spcBef>
        <a:buFont typeface="Verdana" panose="020B0604030504040204" pitchFamily="34" charset="0"/>
        <a:buChar char="◦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573200" indent="-201600" algn="l" defTabSz="914400" rtl="0" eaLnBrk="1" latinLnBrk="0" hangingPunct="1">
        <a:lnSpc>
          <a:spcPct val="125000"/>
        </a:lnSpc>
        <a:spcBef>
          <a:spcPts val="800"/>
        </a:spcBef>
        <a:buSzPct val="115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30400" indent="-201600" algn="l" defTabSz="914400" rtl="0" eaLnBrk="1" latinLnBrk="0" hangingPunct="1">
        <a:lnSpc>
          <a:spcPct val="125000"/>
        </a:lnSpc>
        <a:spcBef>
          <a:spcPts val="800"/>
        </a:spcBef>
        <a:buFont typeface="Verdana" panose="020B0604030504040204" pitchFamily="34" charset="0"/>
        <a:buChar char="‒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483">
          <p15:clr>
            <a:srgbClr val="F26B43"/>
          </p15:clr>
        </p15:guide>
        <p15:guide id="4" orient="horz" pos="4088">
          <p15:clr>
            <a:srgbClr val="F26B43"/>
          </p15:clr>
        </p15:guide>
        <p15:guide id="5" orient="horz" pos="618">
          <p15:clr>
            <a:srgbClr val="F26B43"/>
          </p15:clr>
        </p15:guide>
        <p15:guide id="6" orient="horz" pos="1207">
          <p15:clr>
            <a:srgbClr val="F26B43"/>
          </p15:clr>
        </p15:guide>
        <p15:guide id="7" orient="horz" pos="3612">
          <p15:clr>
            <a:srgbClr val="F26B43"/>
          </p15:clr>
        </p15:guide>
        <p15:guide id="8" pos="719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8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" name="think-cell Slide" r:id="rId30" imgW="360" imgH="360" progId="TCLayout.ActiveDocument.1">
                  <p:embed/>
                </p:oleObj>
              </mc:Choice>
              <mc:Fallback>
                <p:oleObj name="think-cell Slide" r:id="rId30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/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sv-SE" sz="4800" dirty="0">
              <a:solidFill>
                <a:srgbClr val="FFFFFF"/>
              </a:solidFill>
              <a:latin typeface="Georgia" panose="02040502050405020303" pitchFamily="18" charset="0"/>
              <a:sym typeface="Times New Roman" panose="02020603050405020304" pitchFamily="18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839788" y="893812"/>
            <a:ext cx="10512425" cy="136683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9788" y="2542837"/>
            <a:ext cx="10514012" cy="312178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 dirty="0"/>
              <a:t>Redigera format för bakgrundstext</a:t>
            </a:r>
          </a:p>
          <a:p>
            <a:pPr lvl="1"/>
            <a:r>
              <a:rPr lang="sv-SE" dirty="0"/>
              <a:t>Nivå två</a:t>
            </a:r>
          </a:p>
          <a:p>
            <a:pPr lvl="2"/>
            <a:r>
              <a:rPr lang="sv-SE" dirty="0"/>
              <a:t>Nivå tre</a:t>
            </a:r>
          </a:p>
          <a:p>
            <a:pPr lvl="3"/>
            <a:r>
              <a:rPr lang="sv-SE" dirty="0"/>
              <a:t>Nivå fyra</a:t>
            </a:r>
          </a:p>
          <a:p>
            <a:pPr lvl="4"/>
            <a:r>
              <a:rPr lang="sv-SE" dirty="0"/>
              <a:t>Nivå fem</a:t>
            </a:r>
          </a:p>
          <a:p>
            <a:pPr lvl="5"/>
            <a:endParaRPr lang="sv-SE" dirty="0"/>
          </a:p>
        </p:txBody>
      </p:sp>
      <p:pic>
        <p:nvPicPr>
          <p:cNvPr id="12" name="Billede 11">
            <a:extLst>
              <a:ext uri="{FF2B5EF4-FFF2-40B4-BE49-F238E27FC236}">
                <a16:creationId xmlns="" xmlns:a16="http://schemas.microsoft.com/office/drawing/2014/main" id="{E0D46A06-9F5E-694D-8806-469DCEEA8010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3400" y="6393180"/>
            <a:ext cx="957600" cy="183515"/>
          </a:xfrm>
          <a:prstGeom prst="rect">
            <a:avLst/>
          </a:prstGeom>
        </p:spPr>
      </p:pic>
      <p:sp>
        <p:nvSpPr>
          <p:cNvPr id="16" name="Pladsholder til slidenummer 5">
            <a:extLst>
              <a:ext uri="{FF2B5EF4-FFF2-40B4-BE49-F238E27FC236}">
                <a16:creationId xmlns="" xmlns:a16="http://schemas.microsoft.com/office/drawing/2014/main" id="{FBD3895A-FB7F-7449-9CC3-E81927ACF6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588" y="6380955"/>
            <a:ext cx="324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0" i="0">
                <a:solidFill>
                  <a:schemeClr val="accent1"/>
                </a:solidFill>
                <a:latin typeface="Verdana" panose="020B0604030504040204" pitchFamily="34" charset="0"/>
              </a:defRPr>
            </a:lvl1pPr>
          </a:lstStyle>
          <a:p>
            <a:fld id="{2906F29B-0E9E-4576-AEC9-0657A7532060}" type="slidenum">
              <a:rPr lang="da-DK" smtClean="0">
                <a:solidFill>
                  <a:srgbClr val="F7232C"/>
                </a:solidFill>
              </a:rPr>
              <a:pPr/>
              <a:t>‹nr.›</a:t>
            </a:fld>
            <a:endParaRPr lang="da-DK" dirty="0">
              <a:solidFill>
                <a:srgbClr val="F7232C"/>
              </a:solidFill>
            </a:endParaRPr>
          </a:p>
        </p:txBody>
      </p:sp>
      <p:sp>
        <p:nvSpPr>
          <p:cNvPr id="17" name="Pladsholder til sidefod 4">
            <a:extLst>
              <a:ext uri="{FF2B5EF4-FFF2-40B4-BE49-F238E27FC236}">
                <a16:creationId xmlns="" xmlns:a16="http://schemas.microsoft.com/office/drawing/2014/main" id="{1A8428E8-22D6-9F45-91F5-C25D680E5B8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0" i="0" cap="all" baseline="0">
                <a:solidFill>
                  <a:schemeClr val="tx1"/>
                </a:solidFill>
                <a:latin typeface="Verdana" panose="020B0604030504040204" pitchFamily="34" charset="0"/>
              </a:defRPr>
            </a:lvl1pPr>
          </a:lstStyle>
          <a:p>
            <a:r>
              <a:rPr lang="da-DK" dirty="0">
                <a:solidFill>
                  <a:srgbClr val="000000"/>
                </a:solidFill>
              </a:rPr>
              <a:t>Fælles introduktionsmøde for bestyrelserne i </a:t>
            </a:r>
            <a:r>
              <a:rPr lang="da-DK" dirty="0" err="1">
                <a:solidFill>
                  <a:srgbClr val="000000"/>
                </a:solidFill>
              </a:rPr>
              <a:t>Norlys</a:t>
            </a:r>
            <a:r>
              <a:rPr lang="da-DK" dirty="0">
                <a:solidFill>
                  <a:srgbClr val="000000"/>
                </a:solidFill>
              </a:rPr>
              <a:t> Vækstpulje</a:t>
            </a:r>
          </a:p>
        </p:txBody>
      </p:sp>
      <p:sp>
        <p:nvSpPr>
          <p:cNvPr id="18" name="Pladsholder til dato 3">
            <a:extLst>
              <a:ext uri="{FF2B5EF4-FFF2-40B4-BE49-F238E27FC236}">
                <a16:creationId xmlns="" xmlns:a16="http://schemas.microsoft.com/office/drawing/2014/main" id="{9195AC45-BA23-CB4D-84FA-70E7B166EA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85377" y="6380955"/>
            <a:ext cx="720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b="0" i="0">
                <a:solidFill>
                  <a:schemeClr val="tx1"/>
                </a:solidFill>
                <a:latin typeface="Verdana" panose="020B0604030504040204" pitchFamily="34" charset="0"/>
              </a:defRPr>
            </a:lvl1pPr>
          </a:lstStyle>
          <a:p>
            <a:fld id="{DC1EF374-20B7-B84E-BC46-386CEF4B23B8}" type="datetime1">
              <a:rPr lang="da-DK" smtClean="0">
                <a:solidFill>
                  <a:srgbClr val="000000"/>
                </a:solidFill>
              </a:rPr>
              <a:pPr/>
              <a:t>26-10-2020</a:t>
            </a:fld>
            <a:endParaRPr lang="da-DK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0165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33" r:id="rId14"/>
    <p:sldLayoutId id="2147483734" r:id="rId15"/>
    <p:sldLayoutId id="2147483735" r:id="rId16"/>
    <p:sldLayoutId id="2147483736" r:id="rId17"/>
    <p:sldLayoutId id="2147483737" r:id="rId18"/>
    <p:sldLayoutId id="2147483738" r:id="rId19"/>
    <p:sldLayoutId id="2147483739" r:id="rId20"/>
    <p:sldLayoutId id="2147483740" r:id="rId21"/>
    <p:sldLayoutId id="2147483741" r:id="rId22"/>
    <p:sldLayoutId id="2147483742" r:id="rId23"/>
    <p:sldLayoutId id="2147483743" r:id="rId24"/>
    <p:sldLayoutId id="2147483744" r:id="rId2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800" b="0" i="0" kern="1200">
          <a:solidFill>
            <a:schemeClr val="tx1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4000"/>
        </a:lnSpc>
        <a:spcBef>
          <a:spcPts val="1000"/>
        </a:spcBef>
        <a:buFont typeface="Arial" panose="020B0604020202020204" pitchFamily="34" charset="0"/>
        <a:buChar char="•"/>
        <a:defRPr sz="2200" b="0" i="0" kern="1200">
          <a:solidFill>
            <a:schemeClr val="tx1"/>
          </a:solidFill>
          <a:latin typeface="Verdana" panose="020B0604030504040204" pitchFamily="34" charset="0"/>
          <a:ea typeface="+mn-ea"/>
          <a:cs typeface="+mn-cs"/>
        </a:defRPr>
      </a:lvl1pPr>
      <a:lvl2pPr marL="828000" indent="-228600" algn="l" defTabSz="914400" rtl="0" eaLnBrk="1" latinLnBrk="0" hangingPunct="1">
        <a:lnSpc>
          <a:spcPct val="95000"/>
        </a:lnSpc>
        <a:spcBef>
          <a:spcPts val="500"/>
        </a:spcBef>
        <a:buFont typeface="Arial" panose="020B0604020202020204" pitchFamily="34" charset="0"/>
        <a:buChar char="̶"/>
        <a:defRPr sz="2200" b="0" i="0" kern="1200">
          <a:solidFill>
            <a:schemeClr val="tx1"/>
          </a:solidFill>
          <a:latin typeface="Verdana" panose="020B0604030504040204" pitchFamily="34" charset="0"/>
          <a:ea typeface="+mn-ea"/>
          <a:cs typeface="+mn-cs"/>
        </a:defRPr>
      </a:lvl2pPr>
      <a:lvl3pPr marL="1044000" indent="-228600" algn="l" defTabSz="914400" rtl="0" eaLnBrk="1" latinLnBrk="0" hangingPunct="1">
        <a:lnSpc>
          <a:spcPct val="95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Verdana" panose="020B0604030504040204" pitchFamily="34" charset="0"/>
          <a:ea typeface="+mn-ea"/>
          <a:cs typeface="+mn-cs"/>
        </a:defRPr>
      </a:lvl3pPr>
      <a:lvl4pPr marL="1296000" indent="-228600" algn="l" defTabSz="914400" rtl="0" eaLnBrk="1" latinLnBrk="0" hangingPunct="1">
        <a:lnSpc>
          <a:spcPct val="95000"/>
        </a:lnSpc>
        <a:spcBef>
          <a:spcPts val="500"/>
        </a:spcBef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Verdana" panose="020B0604030504040204" pitchFamily="34" charset="0"/>
          <a:ea typeface="+mn-ea"/>
          <a:cs typeface="+mn-cs"/>
        </a:defRPr>
      </a:lvl4pPr>
      <a:lvl5pPr marL="1512000" indent="-228600" algn="l" defTabSz="914400" rtl="0" eaLnBrk="1" latinLnBrk="0" hangingPunct="1">
        <a:lnSpc>
          <a:spcPct val="95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Verdana" panose="020B0604030504040204" pitchFamily="34" charset="0"/>
          <a:ea typeface="+mn-ea"/>
          <a:cs typeface="+mn-cs"/>
        </a:defRPr>
      </a:lvl5pPr>
      <a:lvl6pPr marL="1371600" indent="-228600" algn="l" defTabSz="914400" rtl="0" eaLnBrk="1" latinLnBrk="0" hangingPunct="1">
        <a:lnSpc>
          <a:spcPct val="95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Verdana" panose="020B0604030504040204" pitchFamily="34" charset="0"/>
          <a:ea typeface="+mn-ea"/>
          <a:cs typeface="+mn-cs"/>
        </a:defRPr>
      </a:lvl6pPr>
      <a:lvl7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828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orient="horz" pos="2160">
          <p15:clr>
            <a:srgbClr val="F26B43"/>
          </p15:clr>
        </p15:guide>
        <p15:guide id="3" pos="483">
          <p15:clr>
            <a:srgbClr val="F26B43"/>
          </p15:clr>
        </p15:guide>
        <p15:guide id="4" pos="7197">
          <p15:clr>
            <a:srgbClr val="F26B43"/>
          </p15:clr>
        </p15:guide>
        <p15:guide id="5" orient="horz" pos="4088">
          <p15:clr>
            <a:srgbClr val="F26B43"/>
          </p15:clr>
        </p15:guide>
        <p15:guide id="6" orient="horz" pos="3612">
          <p15:clr>
            <a:srgbClr val="F26B43"/>
          </p15:clr>
        </p15:guide>
        <p15:guide id="7" orient="horz" pos="1207">
          <p15:clr>
            <a:srgbClr val="F26B43"/>
          </p15:clr>
        </p15:guide>
        <p15:guide id="8" orient="horz" pos="61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594015" y="5991924"/>
            <a:ext cx="3706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60E2A6B-A809-4840-BF14-8648BC0BDF87}" type="slidenum">
              <a:rPr lang="id-ID" sz="1200" b="1">
                <a:solidFill>
                  <a:srgbClr val="000000"/>
                </a:solidFill>
                <a:latin typeface="Roboto" charset="0"/>
                <a:ea typeface="Roboto" charset="0"/>
                <a:cs typeface="Roboto" charset="0"/>
              </a:rPr>
              <a:pPr/>
              <a:t>‹nr.›</a:t>
            </a:fld>
            <a:endParaRPr lang="en-MY" sz="1200" b="1" dirty="0">
              <a:solidFill>
                <a:srgbClr val="000000"/>
              </a:solidFill>
              <a:latin typeface="Roboto" charset="0"/>
              <a:ea typeface="Roboto" charset="0"/>
              <a:cs typeface="Roboto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2511" y="599364"/>
            <a:ext cx="1450109" cy="280959"/>
          </a:xfrm>
          <a:prstGeom prst="rect">
            <a:avLst/>
          </a:prstGeom>
        </p:spPr>
      </p:pic>
      <p:cxnSp>
        <p:nvCxnSpPr>
          <p:cNvPr id="5" name="Straight Connector 4"/>
          <p:cNvCxnSpPr/>
          <p:nvPr userDrawn="1"/>
        </p:nvCxnSpPr>
        <p:spPr>
          <a:xfrm>
            <a:off x="-97228" y="6127950"/>
            <a:ext cx="691243" cy="0"/>
          </a:xfrm>
          <a:prstGeom prst="line">
            <a:avLst/>
          </a:prstGeom>
          <a:ln w="25400">
            <a:solidFill>
              <a:srgbClr val="FEC8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0834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4" r:id="rId19"/>
    <p:sldLayoutId id="2147483765" r:id="rId20"/>
    <p:sldLayoutId id="2147483766" r:id="rId21"/>
    <p:sldLayoutId id="2147483767" r:id="rId22"/>
    <p:sldLayoutId id="2147483768" r:id="rId23"/>
    <p:sldLayoutId id="2147483769" r:id="rId24"/>
    <p:sldLayoutId id="2147483770" r:id="rId2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1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hyperlink" Target="mailto:lms@randers.dk" TargetMode="Externa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0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randers.dk/udvikling-by-og-land/landdistriktsudvikling/finansiering-puljer-fonde/landsbypuljen/" TargetMode="Externa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elrofonden.dk/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9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4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4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4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4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4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4.emf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18.jpe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35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17.xml"/><Relationship Id="rId4" Type="http://schemas.openxmlformats.org/officeDocument/2006/relationships/image" Target="../media/image37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17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9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117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95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9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94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atenstilskudspuljer.dk/" TargetMode="Externa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95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11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9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95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95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95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117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108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94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9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95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fonde.dk/" TargetMode="External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95.xml"/><Relationship Id="rId4" Type="http://schemas.openxmlformats.org/officeDocument/2006/relationships/image" Target="../media/image47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9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 smtClean="0"/>
              <a:t>Velkommen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a-DK" b="1" dirty="0" smtClean="0"/>
              <a:t>Til kursus om fundraising, </a:t>
            </a:r>
            <a:r>
              <a:rPr lang="da-DK" b="1" dirty="0"/>
              <a:t>for </a:t>
            </a:r>
            <a:r>
              <a:rPr lang="da-DK" b="1" dirty="0" smtClean="0"/>
              <a:t>foreninger og </a:t>
            </a:r>
            <a:r>
              <a:rPr lang="da-DK" b="1" dirty="0"/>
              <a:t>institutioner </a:t>
            </a:r>
            <a:r>
              <a:rPr lang="da-DK" b="1" dirty="0" smtClean="0"/>
              <a:t>i </a:t>
            </a:r>
            <a:r>
              <a:rPr lang="da-DK" b="1" dirty="0"/>
              <a:t>Randers Kommune</a:t>
            </a:r>
            <a:endParaRPr lang="da-DK" dirty="0"/>
          </a:p>
        </p:txBody>
      </p:sp>
      <p:pic>
        <p:nvPicPr>
          <p:cNvPr id="4" name="Billed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2995" y="793346"/>
            <a:ext cx="2455693" cy="1841770"/>
          </a:xfrm>
          <a:prstGeom prst="rect">
            <a:avLst/>
          </a:prstGeom>
        </p:spPr>
      </p:pic>
      <p:pic>
        <p:nvPicPr>
          <p:cNvPr id="5" name="Billed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50298">
            <a:off x="929094" y="835149"/>
            <a:ext cx="3090628" cy="1738478"/>
          </a:xfrm>
          <a:prstGeom prst="rect">
            <a:avLst/>
          </a:prstGeom>
        </p:spPr>
      </p:pic>
      <p:pic>
        <p:nvPicPr>
          <p:cNvPr id="6" name="Billed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56395">
            <a:off x="6285312" y="462234"/>
            <a:ext cx="1461581" cy="1948774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87619">
            <a:off x="8404891" y="4308478"/>
            <a:ext cx="2833797" cy="1898644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4071" y="4045881"/>
            <a:ext cx="3007486" cy="2255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159593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itel 1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da-DK" smtClean="0"/>
              <a:t>Projektering</a:t>
            </a:r>
            <a:br>
              <a:rPr lang="da-DK" altLang="da-DK" smtClean="0"/>
            </a:br>
            <a:r>
              <a:rPr lang="da-DK" altLang="da-DK" sz="2800"/>
              <a:t>fra ide til projekt</a:t>
            </a:r>
          </a:p>
        </p:txBody>
      </p:sp>
      <p:sp>
        <p:nvSpPr>
          <p:cNvPr id="8195" name="Pladsholder til indhold 2"/>
          <p:cNvSpPr>
            <a:spLocks noGrp="1" noChangeArrowheads="1"/>
          </p:cNvSpPr>
          <p:nvPr>
            <p:ph idx="1"/>
          </p:nvPr>
        </p:nvSpPr>
        <p:spPr bwMode="auto">
          <a:xfrm>
            <a:off x="2152650" y="1825625"/>
            <a:ext cx="7886700" cy="40767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da-DK" smtClean="0"/>
              <a:t>Hente 2 sammenlignelige tilbud på udgifter over 50.000 kr.</a:t>
            </a:r>
          </a:p>
          <a:p>
            <a:pPr eaLnBrk="1" hangingPunct="1"/>
            <a:r>
              <a:rPr lang="da-DK" altLang="da-DK" smtClean="0"/>
              <a:t>Byggetilladelse, landzone, legepladsinspektør…</a:t>
            </a:r>
          </a:p>
          <a:p>
            <a:pPr eaLnBrk="1" hangingPunct="1"/>
            <a:r>
              <a:rPr lang="da-DK" altLang="da-DK" smtClean="0"/>
              <a:t>Samarbejde (Lokal UdviklingsPlan - LUP)</a:t>
            </a:r>
          </a:p>
          <a:p>
            <a:pPr eaLnBrk="1" hangingPunct="1"/>
            <a:r>
              <a:rPr lang="da-DK" altLang="da-DK" smtClean="0"/>
              <a:t>Frivilligt arbejde (100 kr. pr time)</a:t>
            </a:r>
          </a:p>
          <a:p>
            <a:pPr eaLnBrk="1" hangingPunct="1"/>
            <a:r>
              <a:rPr lang="da-DK" altLang="da-DK" smtClean="0"/>
              <a:t>Elektronisk ansøgningssystem.</a:t>
            </a:r>
          </a:p>
        </p:txBody>
      </p:sp>
    </p:spTree>
    <p:extLst>
      <p:ext uri="{BB962C8B-B14F-4D97-AF65-F5344CB8AC3E}">
        <p14:creationId xmlns:p14="http://schemas.microsoft.com/office/powerpoint/2010/main" val="27445507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el 1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da-DK" smtClean="0"/>
              <a:t>Andre muligheder</a:t>
            </a:r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2152650" y="1825625"/>
            <a:ext cx="7886700" cy="4076700"/>
          </a:xfrm>
        </p:spPr>
        <p:txBody>
          <a:bodyPr/>
          <a:lstStyle/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r>
              <a:rPr lang="da-DK" dirty="0"/>
              <a:t>Landsbyprisen 2021 – 150.000 kr. Region Midtjylland</a:t>
            </a:r>
          </a:p>
          <a:p>
            <a:pPr eaLnBrk="1" fontAlgn="auto" hangingPunct="1">
              <a:spcAft>
                <a:spcPts val="0"/>
              </a:spcAft>
              <a:buFont typeface="Arial"/>
              <a:buChar char="•"/>
              <a:defRPr/>
            </a:pPr>
            <a:r>
              <a:rPr lang="da-DK" dirty="0" err="1"/>
              <a:t>Landdistriktspuljen</a:t>
            </a:r>
            <a:r>
              <a:rPr lang="da-DK" dirty="0"/>
              <a:t> (forsøgsprojekter)</a:t>
            </a:r>
          </a:p>
          <a:p>
            <a:pPr marL="0" indent="0" eaLnBrk="1" fontAlgn="auto" hangingPunct="1">
              <a:spcAft>
                <a:spcPts val="0"/>
              </a:spcAft>
              <a:buNone/>
              <a:defRPr/>
            </a:pPr>
            <a:r>
              <a:rPr lang="da-DK" dirty="0"/>
              <a:t>   Erhvervsstyrelsen</a:t>
            </a:r>
          </a:p>
          <a:p>
            <a:pPr marL="0" indent="0" eaLnBrk="1" fontAlgn="auto" hangingPunct="1">
              <a:spcAft>
                <a:spcPts val="0"/>
              </a:spcAft>
              <a:buNone/>
              <a:defRPr/>
            </a:pPr>
            <a:endParaRPr lang="da-DK" dirty="0"/>
          </a:p>
          <a:p>
            <a:pPr marL="0" indent="0" eaLnBrk="1" fontAlgn="auto" hangingPunct="1">
              <a:spcAft>
                <a:spcPts val="0"/>
              </a:spcAft>
              <a:buNone/>
              <a:defRPr/>
            </a:pPr>
            <a:r>
              <a:rPr lang="da-DK" dirty="0"/>
              <a:t>Inspiration og mere på: livogland.dk</a:t>
            </a:r>
          </a:p>
          <a:p>
            <a:pPr marL="0" indent="0" eaLnBrk="1" fontAlgn="auto" hangingPunct="1">
              <a:spcAft>
                <a:spcPts val="0"/>
              </a:spcAft>
              <a:buNone/>
              <a:defRPr/>
            </a:pPr>
            <a:endParaRPr lang="da-DK" dirty="0"/>
          </a:p>
          <a:p>
            <a:pPr marL="0" indent="0" eaLnBrk="1" fontAlgn="auto" hangingPunct="1">
              <a:spcAft>
                <a:spcPts val="0"/>
              </a:spcAft>
              <a:buNone/>
              <a:defRPr/>
            </a:pP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5502113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 smtClean="0"/>
              <a:t>Landsbypuljen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da-DK" dirty="0" smtClean="0"/>
              <a:t>En pulje som udmøntes af Landdistriktsudvalget i Randers Kommune.</a:t>
            </a:r>
          </a:p>
          <a:p>
            <a:endParaRPr lang="da-DK" dirty="0" smtClean="0"/>
          </a:p>
          <a:p>
            <a:r>
              <a:rPr lang="da-DK" dirty="0" smtClean="0"/>
              <a:t>Landdistriktskoordinator Line Marie Sørensen</a:t>
            </a:r>
          </a:p>
          <a:p>
            <a:r>
              <a:rPr lang="da-DK" dirty="0" smtClean="0">
                <a:hlinkClick r:id="rId3"/>
              </a:rPr>
              <a:t>lms@randers.dk</a:t>
            </a:r>
            <a:r>
              <a:rPr lang="da-DK" dirty="0" smtClean="0"/>
              <a:t> og 2057 3090</a:t>
            </a:r>
            <a:endParaRPr lang="da-DK" dirty="0"/>
          </a:p>
        </p:txBody>
      </p:sp>
      <p:pic>
        <p:nvPicPr>
          <p:cNvPr id="4" name="Billed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535" y="391773"/>
            <a:ext cx="1272265" cy="1272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60787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a-DK" dirty="0" smtClean="0"/>
              <a:t>Landsbypuljen</a:t>
            </a:r>
            <a:endParaRPr lang="da-DK" sz="2000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809637"/>
          </a:xfrm>
        </p:spPr>
        <p:txBody>
          <a:bodyPr>
            <a:normAutofit fontScale="92500" lnSpcReduction="10000"/>
          </a:bodyPr>
          <a:lstStyle/>
          <a:p>
            <a:r>
              <a:rPr lang="da-DK" dirty="0" smtClean="0"/>
              <a:t>Landdistriktsudvalget uddeler 1,5 mio. kr. om året ved to ansøgningsrunder.</a:t>
            </a:r>
          </a:p>
          <a:p>
            <a:r>
              <a:rPr lang="da-DK" dirty="0" smtClean="0"/>
              <a:t>I April og oktober.</a:t>
            </a:r>
          </a:p>
          <a:p>
            <a:r>
              <a:rPr lang="da-DK" dirty="0" smtClean="0"/>
              <a:t>Næste frist er 1. november 2020, men der er meget få midler til uddeling pga. mini hjælpepakken.</a:t>
            </a:r>
          </a:p>
          <a:p>
            <a:r>
              <a:rPr lang="da-DK" dirty="0" smtClean="0"/>
              <a:t>Ellers er det til april 2021 – så der er god tid til at få lavet en god projektbeskrivelse </a:t>
            </a:r>
            <a:r>
              <a:rPr lang="da-DK" dirty="0" smtClean="0">
                <a:sym typeface="Wingdings" panose="05000000000000000000" pitchFamily="2" charset="2"/>
              </a:rPr>
              <a:t></a:t>
            </a:r>
            <a:endParaRPr lang="da-DK" dirty="0" smtClean="0"/>
          </a:p>
          <a:p>
            <a:pPr marL="0" indent="0">
              <a:buNone/>
            </a:pPr>
            <a:endParaRPr lang="da-DK" dirty="0"/>
          </a:p>
          <a:p>
            <a:r>
              <a:rPr lang="da-DK" dirty="0" smtClean="0"/>
              <a:t>Der kan søges mellem 5.000 kr. – 150.000 kr.</a:t>
            </a:r>
          </a:p>
          <a:p>
            <a:r>
              <a:rPr lang="da-DK" dirty="0" smtClean="0"/>
              <a:t>Til følgende projekter</a:t>
            </a:r>
          </a:p>
          <a:p>
            <a:pPr lvl="1"/>
            <a:r>
              <a:rPr lang="da-DK" dirty="0" smtClean="0"/>
              <a:t>Processer og </a:t>
            </a:r>
            <a:r>
              <a:rPr lang="da-DK" dirty="0" err="1" smtClean="0"/>
              <a:t>forprojekter</a:t>
            </a:r>
            <a:endParaRPr lang="da-DK" dirty="0" smtClean="0"/>
          </a:p>
          <a:p>
            <a:pPr lvl="1"/>
            <a:r>
              <a:rPr lang="da-DK" dirty="0" smtClean="0"/>
              <a:t>Nye aktiviteter og faciliteter.</a:t>
            </a:r>
          </a:p>
          <a:p>
            <a:endParaRPr lang="da-DK" dirty="0" smtClean="0"/>
          </a:p>
          <a:p>
            <a:endParaRPr lang="da-DK" dirty="0" smtClean="0"/>
          </a:p>
          <a:p>
            <a:endParaRPr lang="da-DK" dirty="0"/>
          </a:p>
        </p:txBody>
      </p:sp>
      <p:pic>
        <p:nvPicPr>
          <p:cNvPr id="4" name="Billed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535" y="391773"/>
            <a:ext cx="1272265" cy="1272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1870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a-DK" dirty="0" smtClean="0"/>
              <a:t>Landsbypuljen</a:t>
            </a:r>
            <a:endParaRPr lang="da-DK" sz="2000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809637"/>
          </a:xfrm>
        </p:spPr>
        <p:txBody>
          <a:bodyPr>
            <a:normAutofit fontScale="77500" lnSpcReduction="20000"/>
          </a:bodyPr>
          <a:lstStyle/>
          <a:p>
            <a:pPr marL="0" indent="0">
              <a:buNone/>
            </a:pPr>
            <a:r>
              <a:rPr lang="da-DK" b="1" dirty="0" smtClean="0"/>
              <a:t>Hvem kan søge?</a:t>
            </a:r>
          </a:p>
          <a:p>
            <a:pPr marL="0" indent="0">
              <a:buNone/>
            </a:pPr>
            <a:r>
              <a:rPr lang="da-DK" dirty="0" smtClean="0"/>
              <a:t>Foreninger, lokalråd, borgerforeninger, forsamlingshuse (også dem i RDS) og lignende (CVR nummer)</a:t>
            </a:r>
          </a:p>
          <a:p>
            <a:pPr marL="0" indent="0">
              <a:buNone/>
            </a:pPr>
            <a:endParaRPr lang="da-DK" b="1" dirty="0" smtClean="0"/>
          </a:p>
          <a:p>
            <a:pPr marL="0" indent="0">
              <a:buNone/>
            </a:pPr>
            <a:r>
              <a:rPr lang="da-DK" b="1" dirty="0" smtClean="0"/>
              <a:t>Indstilling</a:t>
            </a:r>
          </a:p>
          <a:p>
            <a:pPr marL="0" indent="0">
              <a:buNone/>
            </a:pPr>
            <a:r>
              <a:rPr lang="da-DK" dirty="0" smtClean="0"/>
              <a:t>Projekterne scores på seks parametre:</a:t>
            </a:r>
            <a:r>
              <a:rPr lang="da-DK" b="1" dirty="0" smtClean="0"/>
              <a:t> </a:t>
            </a:r>
          </a:p>
          <a:p>
            <a:r>
              <a:rPr lang="da-DK" dirty="0" smtClean="0"/>
              <a:t>Medfinansiering (0-2),</a:t>
            </a:r>
          </a:p>
          <a:p>
            <a:r>
              <a:rPr lang="da-DK" dirty="0" smtClean="0"/>
              <a:t>ophæng </a:t>
            </a:r>
            <a:r>
              <a:rPr lang="da-DK" dirty="0"/>
              <a:t>i </a:t>
            </a:r>
            <a:r>
              <a:rPr lang="da-DK" dirty="0" smtClean="0"/>
              <a:t>lokal udviklingsplan </a:t>
            </a:r>
            <a:r>
              <a:rPr lang="da-DK" dirty="0"/>
              <a:t>(</a:t>
            </a:r>
            <a:r>
              <a:rPr lang="da-DK" dirty="0" smtClean="0"/>
              <a:t>0-1), </a:t>
            </a:r>
          </a:p>
          <a:p>
            <a:r>
              <a:rPr lang="da-DK" dirty="0" smtClean="0"/>
              <a:t>lokal inddragelse </a:t>
            </a:r>
            <a:r>
              <a:rPr lang="da-DK" dirty="0"/>
              <a:t>i projektudviklingen (0-2), </a:t>
            </a:r>
            <a:endParaRPr lang="da-DK" dirty="0" smtClean="0"/>
          </a:p>
          <a:p>
            <a:r>
              <a:rPr lang="da-DK" dirty="0" smtClean="0"/>
              <a:t>aktiverer og engagerer de </a:t>
            </a:r>
            <a:r>
              <a:rPr lang="da-DK" dirty="0"/>
              <a:t>lokale borgere (0-2), </a:t>
            </a:r>
            <a:endParaRPr lang="da-DK" dirty="0" smtClean="0"/>
          </a:p>
          <a:p>
            <a:r>
              <a:rPr lang="da-DK" dirty="0" smtClean="0"/>
              <a:t>projektets </a:t>
            </a:r>
            <a:r>
              <a:rPr lang="da-DK" dirty="0"/>
              <a:t>parathed (0-2</a:t>
            </a:r>
            <a:r>
              <a:rPr lang="da-DK" dirty="0" smtClean="0"/>
              <a:t>) </a:t>
            </a:r>
          </a:p>
          <a:p>
            <a:r>
              <a:rPr lang="da-DK" dirty="0" smtClean="0"/>
              <a:t>og </a:t>
            </a:r>
            <a:r>
              <a:rPr lang="da-DK" dirty="0"/>
              <a:t>befolkningsudvikling (0-2</a:t>
            </a:r>
            <a:r>
              <a:rPr lang="da-DK" dirty="0" smtClean="0"/>
              <a:t>)</a:t>
            </a:r>
          </a:p>
          <a:p>
            <a:pPr marL="0" indent="0">
              <a:buNone/>
            </a:pPr>
            <a:r>
              <a:rPr lang="da-DK" dirty="0" smtClean="0"/>
              <a:t>Tidligere støtte til projekter i området fremgår også af skemaet.</a:t>
            </a:r>
            <a:endParaRPr lang="da-DK" dirty="0"/>
          </a:p>
          <a:p>
            <a:pPr marL="0" indent="0">
              <a:buNone/>
            </a:pPr>
            <a:endParaRPr lang="da-DK" dirty="0"/>
          </a:p>
        </p:txBody>
      </p:sp>
      <p:pic>
        <p:nvPicPr>
          <p:cNvPr id="4" name="Billed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535" y="391773"/>
            <a:ext cx="1272265" cy="1272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2895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a-DK" dirty="0" smtClean="0"/>
              <a:t>Landsbypuljen</a:t>
            </a:r>
            <a:endParaRPr lang="da-DK" sz="2000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38200" y="1825624"/>
            <a:ext cx="10515600" cy="4809637"/>
          </a:xfrm>
        </p:spPr>
        <p:txBody>
          <a:bodyPr>
            <a:normAutofit/>
          </a:bodyPr>
          <a:lstStyle/>
          <a:p>
            <a:r>
              <a:rPr lang="da-DK" dirty="0" smtClean="0"/>
              <a:t>Man søger online på </a:t>
            </a:r>
          </a:p>
          <a:p>
            <a:pPr marL="0" indent="0">
              <a:buNone/>
            </a:pPr>
            <a:r>
              <a:rPr lang="da-DK" dirty="0" smtClean="0">
                <a:hlinkClick r:id="rId3"/>
              </a:rPr>
              <a:t>https://www.randers.dk/udvikling-by-og-land/landdistriktsudvikling/finansiering-puljer-fonde/landsbypuljen/</a:t>
            </a:r>
            <a:endParaRPr lang="da-DK" b="1" dirty="0" smtClean="0"/>
          </a:p>
          <a:p>
            <a:pPr marL="0" indent="0">
              <a:buNone/>
            </a:pPr>
            <a:endParaRPr lang="da-DK" b="1" dirty="0" smtClean="0"/>
          </a:p>
          <a:p>
            <a:r>
              <a:rPr lang="da-DK" b="1" dirty="0" smtClean="0"/>
              <a:t>HUSK at vedhæfte</a:t>
            </a:r>
            <a:endParaRPr lang="da-DK" b="1" dirty="0"/>
          </a:p>
          <a:p>
            <a:pPr lvl="1"/>
            <a:r>
              <a:rPr lang="da-DK" sz="2300" dirty="0" smtClean="0"/>
              <a:t>2 tilbud ved mere end 50.000 kr. </a:t>
            </a:r>
          </a:p>
          <a:p>
            <a:pPr lvl="1"/>
            <a:r>
              <a:rPr lang="da-DK" sz="2300" dirty="0" smtClean="0"/>
              <a:t>Underskrevne foreningsvedtægter</a:t>
            </a:r>
          </a:p>
          <a:p>
            <a:pPr lvl="1"/>
            <a:r>
              <a:rPr lang="da-DK" sz="2300" dirty="0" smtClean="0"/>
              <a:t>CVR Nummer</a:t>
            </a:r>
          </a:p>
          <a:p>
            <a:pPr lvl="1"/>
            <a:r>
              <a:rPr lang="da-DK" sz="2300" dirty="0" smtClean="0"/>
              <a:t>Aftaler og godkendelser (f.eks. på arealanvendelse)</a:t>
            </a:r>
          </a:p>
          <a:p>
            <a:endParaRPr lang="da-DK" dirty="0"/>
          </a:p>
        </p:txBody>
      </p:sp>
      <p:pic>
        <p:nvPicPr>
          <p:cNvPr id="4" name="Billed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1535" y="391773"/>
            <a:ext cx="1272265" cy="1272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685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err="1" smtClean="0"/>
              <a:t>ELROfonden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 smtClean="0"/>
              <a:t>Svend Aage Nielsen</a:t>
            </a:r>
          </a:p>
          <a:p>
            <a:r>
              <a:rPr lang="da-DK" dirty="0" smtClean="0"/>
              <a:t>Medlem af </a:t>
            </a:r>
            <a:r>
              <a:rPr lang="da-DK" dirty="0" err="1" smtClean="0"/>
              <a:t>ELROfondens</a:t>
            </a:r>
            <a:r>
              <a:rPr lang="da-DK" dirty="0" smtClean="0"/>
              <a:t> bestyrelse</a:t>
            </a:r>
          </a:p>
          <a:p>
            <a:r>
              <a:rPr lang="da-DK" dirty="0" smtClean="0">
                <a:hlinkClick r:id="rId3"/>
              </a:rPr>
              <a:t>www.elrofonden.dk</a:t>
            </a:r>
            <a:r>
              <a:rPr lang="da-DK" dirty="0" smtClean="0"/>
              <a:t> </a:t>
            </a:r>
            <a:endParaRPr lang="da-DK" dirty="0"/>
          </a:p>
        </p:txBody>
      </p:sp>
      <p:pic>
        <p:nvPicPr>
          <p:cNvPr id="3074" name="Picture 2" descr="https://www.elrofonden.dk/images/logo_elrofonde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2925" y="5510212"/>
            <a:ext cx="3190875" cy="6667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34541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2">
            <a:extLst>
              <a:ext uri="{FF2B5EF4-FFF2-40B4-BE49-F238E27FC236}">
                <a16:creationId xmlns="" xmlns:a16="http://schemas.microsoft.com/office/drawing/2014/main" id="{CA8A3205-195D-EF4A-B523-4B5B09E7ED80}"/>
              </a:ext>
            </a:extLst>
          </p:cNvPr>
          <p:cNvSpPr txBox="1">
            <a:spLocks/>
          </p:cNvSpPr>
          <p:nvPr/>
        </p:nvSpPr>
        <p:spPr>
          <a:xfrm>
            <a:off x="900113" y="812800"/>
            <a:ext cx="10391774" cy="5229225"/>
          </a:xfrm>
          <a:prstGeom prst="rect">
            <a:avLst/>
          </a:prstGeom>
          <a:noFill/>
        </p:spPr>
        <p:txBody>
          <a:bodyPr vert="horz" lIns="0" tIns="0" rIns="0" bIns="0" rtlCol="0" anchor="ctr" anchorCtr="0">
            <a:noAutofit/>
          </a:bodyPr>
          <a:lstStyle>
            <a:lvl1pPr algn="ctr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52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5400" dirty="0" err="1">
                <a:solidFill>
                  <a:prstClr val="white"/>
                </a:solidFill>
              </a:rPr>
              <a:t>Norlys</a:t>
            </a:r>
            <a:r>
              <a:rPr lang="da-DK" sz="5400" dirty="0">
                <a:solidFill>
                  <a:prstClr val="white"/>
                </a:solidFill>
              </a:rPr>
              <a:t> Vækstpulje</a:t>
            </a:r>
          </a:p>
          <a:p>
            <a:r>
              <a:rPr lang="da-DK" sz="3600" dirty="0">
                <a:solidFill>
                  <a:prstClr val="white"/>
                </a:solidFill>
              </a:rPr>
              <a:t>Randers Kommune </a:t>
            </a:r>
          </a:p>
        </p:txBody>
      </p:sp>
      <p:sp>
        <p:nvSpPr>
          <p:cNvPr id="4" name="Undertitel 2">
            <a:extLst>
              <a:ext uri="{FF2B5EF4-FFF2-40B4-BE49-F238E27FC236}">
                <a16:creationId xmlns="" xmlns:a16="http://schemas.microsoft.com/office/drawing/2014/main" id="{CF5E46F0-1F1C-E349-96D9-9B9E26B25F81}"/>
              </a:ext>
            </a:extLst>
          </p:cNvPr>
          <p:cNvSpPr txBox="1">
            <a:spLocks/>
          </p:cNvSpPr>
          <p:nvPr/>
        </p:nvSpPr>
        <p:spPr>
          <a:xfrm>
            <a:off x="900113" y="4670836"/>
            <a:ext cx="10391774" cy="931308"/>
          </a:xfrm>
          <a:prstGeom prst="rect">
            <a:avLst/>
          </a:prstGeom>
          <a:effectLst/>
        </p:spPr>
        <p:txBody>
          <a:bodyPr vert="horz" lIns="0" tIns="0" rIns="0" bIns="0" rtlCol="0" anchor="t" anchorCtr="0">
            <a:noAutofit/>
          </a:bodyPr>
          <a:lstStyle>
            <a:lvl1pPr marL="0" indent="0" algn="ctr" defTabSz="914400" rtl="0" eaLnBrk="1" latinLnBrk="0" hangingPunct="1">
              <a:lnSpc>
                <a:spcPct val="125000"/>
              </a:lnSpc>
              <a:spcBef>
                <a:spcPts val="1000"/>
              </a:spcBef>
              <a:buSzPct val="115000"/>
              <a:buFont typeface="Arial" panose="020B0604020202020204" pitchFamily="34" charset="0"/>
              <a:buNone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25000"/>
              </a:lnSpc>
              <a:spcBef>
                <a:spcPts val="800"/>
              </a:spcBef>
              <a:buFont typeface="Verdana" panose="020B060403050404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25000"/>
              </a:lnSpc>
              <a:spcBef>
                <a:spcPts val="800"/>
              </a:spcBef>
              <a:buFont typeface="Verdana" panose="020B060403050404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25000"/>
              </a:lnSpc>
              <a:spcBef>
                <a:spcPts val="800"/>
              </a:spcBef>
              <a:buSzPct val="1150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25000"/>
              </a:lnSpc>
              <a:spcBef>
                <a:spcPts val="800"/>
              </a:spcBef>
              <a:buFont typeface="Verdana" panose="020B060403050404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endParaRPr lang="da-DK" sz="1400" dirty="0">
              <a:solidFill>
                <a:prstClr val="white"/>
              </a:solidFill>
            </a:endParaRPr>
          </a:p>
        </p:txBody>
      </p:sp>
      <p:sp>
        <p:nvSpPr>
          <p:cNvPr id="3" name="Undertitel 2">
            <a:extLst>
              <a:ext uri="{FF2B5EF4-FFF2-40B4-BE49-F238E27FC236}">
                <a16:creationId xmlns="" xmlns:a16="http://schemas.microsoft.com/office/drawing/2014/main" id="{4B7E65D7-BD23-456F-8C89-047D5CA780F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0113" y="1255856"/>
            <a:ext cx="10391774" cy="365918"/>
          </a:xfrm>
          <a:effectLst/>
        </p:spPr>
        <p:txBody>
          <a:bodyPr/>
          <a:lstStyle/>
          <a:p>
            <a:r>
              <a:rPr lang="sv-SE" dirty="0"/>
              <a:t>22. oktober 2020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2056161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 nodePh="1">
                                  <p:stCondLst>
                                    <p:cond delay="600"/>
                                  </p:stCondLst>
                                  <p:endCondLst>
                                    <p:cond evt="begin" delay="0">
                                      <p:tn val="1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4" grpId="0"/>
      <p:bldP spid="3" grpId="0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ekst 1">
            <a:extLst>
              <a:ext uri="{FF2B5EF4-FFF2-40B4-BE49-F238E27FC236}">
                <a16:creationId xmlns="" xmlns:a16="http://schemas.microsoft.com/office/drawing/2014/main" id="{6DAA99A0-28BC-3B4E-AA21-E7614B4D93D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Hvem er </a:t>
            </a:r>
            <a:r>
              <a:rPr lang="da-DK" dirty="0" err="1"/>
              <a:t>Norlys</a:t>
            </a:r>
            <a:r>
              <a:rPr lang="da-DK" dirty="0"/>
              <a:t>?</a:t>
            </a:r>
          </a:p>
          <a:p>
            <a:r>
              <a:rPr lang="da-DK" dirty="0"/>
              <a:t>Hvorfor Norlys Vækstpulje?</a:t>
            </a:r>
          </a:p>
          <a:p>
            <a:r>
              <a:rPr lang="da-DK" dirty="0"/>
              <a:t>Hvad støtter </a:t>
            </a:r>
            <a:r>
              <a:rPr lang="da-DK" dirty="0" err="1"/>
              <a:t>Norlys</a:t>
            </a:r>
            <a:r>
              <a:rPr lang="da-DK" dirty="0"/>
              <a:t> Vækstpulje – og hvordan?</a:t>
            </a:r>
          </a:p>
        </p:txBody>
      </p:sp>
      <p:sp>
        <p:nvSpPr>
          <p:cNvPr id="3" name="Titel 2">
            <a:extLst>
              <a:ext uri="{FF2B5EF4-FFF2-40B4-BE49-F238E27FC236}">
                <a16:creationId xmlns="" xmlns:a16="http://schemas.microsoft.com/office/drawing/2014/main" id="{88DB7BBF-4901-D84F-945E-CBB93FE966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16764246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61977" y="594000"/>
            <a:ext cx="4943401" cy="1015200"/>
          </a:xfrm>
        </p:spPr>
        <p:txBody>
          <a:bodyPr/>
          <a:lstStyle/>
          <a:p>
            <a:r>
              <a:rPr lang="da-DK" dirty="0"/>
              <a:t>Hvem er </a:t>
            </a:r>
            <a:r>
              <a:rPr lang="da-DK" dirty="0" err="1"/>
              <a:t>Norlys</a:t>
            </a:r>
            <a:r>
              <a:rPr lang="da-DK" dirty="0"/>
              <a:t>?</a:t>
            </a:r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4"/>
          </p:nvPr>
        </p:nvSpPr>
        <p:spPr>
          <a:xfrm>
            <a:off x="761978" y="1386348"/>
            <a:ext cx="4943399" cy="4550989"/>
          </a:xfrm>
        </p:spPr>
        <p:txBody>
          <a:bodyPr/>
          <a:lstStyle/>
          <a:p>
            <a:r>
              <a:rPr lang="da-DK" dirty="0"/>
              <a:t>Danmarks største integrerede tele- og energikoncern med over 1,5 mio. kundeforhold</a:t>
            </a:r>
          </a:p>
          <a:p>
            <a:r>
              <a:rPr lang="da-DK" dirty="0"/>
              <a:t>Resultatet af fusionen mellem SE og </a:t>
            </a:r>
            <a:r>
              <a:rPr lang="da-DK" dirty="0" err="1"/>
              <a:t>Eniig</a:t>
            </a:r>
            <a:r>
              <a:rPr lang="da-DK" dirty="0"/>
              <a:t> i 2019</a:t>
            </a:r>
          </a:p>
          <a:p>
            <a:r>
              <a:rPr lang="da-DK" dirty="0"/>
              <a:t>Forbrugerejet andelsselskab med over 700.000 andelshavere</a:t>
            </a:r>
          </a:p>
          <a:p>
            <a:r>
              <a:rPr lang="da-DK" dirty="0"/>
              <a:t>Repræsentantskab med 704 medlemmer</a:t>
            </a:r>
          </a:p>
          <a:p>
            <a:r>
              <a:rPr lang="da-DK" dirty="0"/>
              <a:t>2.400 medarbejdere</a:t>
            </a:r>
          </a:p>
          <a:p>
            <a:r>
              <a:rPr lang="da-DK" dirty="0"/>
              <a:t>Kontorer i bl.a. Silkeborg, Esbjerg, Aalborg, Aarhus og København</a:t>
            </a:r>
          </a:p>
          <a:p>
            <a:r>
              <a:rPr lang="da-DK" dirty="0"/>
              <a:t>Ejer af Boxer og Stofa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19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10" name="Pladsholder til sidefod 4">
            <a:extLst>
              <a:ext uri="{FF2B5EF4-FFF2-40B4-BE49-F238E27FC236}">
                <a16:creationId xmlns="" xmlns:a16="http://schemas.microsoft.com/office/drawing/2014/main" id="{10CE9AC1-C27F-8B40-9E46-011EEE4CADA1}"/>
              </a:ext>
            </a:extLst>
          </p:cNvPr>
          <p:cNvSpPr txBox="1">
            <a:spLocks/>
          </p:cNvSpPr>
          <p:nvPr/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l" defTabSz="914400" rtl="0" eaLnBrk="1" latinLnBrk="0" hangingPunct="1">
              <a:defRPr sz="8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 – Randers Kommune</a:t>
            </a:r>
          </a:p>
        </p:txBody>
      </p:sp>
      <p:sp>
        <p:nvSpPr>
          <p:cNvPr id="6" name="Pladsholder til billede 5">
            <a:extLst>
              <a:ext uri="{FF2B5EF4-FFF2-40B4-BE49-F238E27FC236}">
                <a16:creationId xmlns="" xmlns:a16="http://schemas.microsoft.com/office/drawing/2014/main" id="{081857C5-50DC-6E43-A037-303DF4A8F6D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blipFill>
            <a:blip r:embed="rId3"/>
            <a:stretch>
              <a:fillRect/>
            </a:stretch>
          </a:blipFill>
        </p:spPr>
      </p:sp>
    </p:spTree>
    <p:extLst>
      <p:ext uri="{BB962C8B-B14F-4D97-AF65-F5344CB8AC3E}">
        <p14:creationId xmlns:p14="http://schemas.microsoft.com/office/powerpoint/2010/main" val="41289949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Hvem er vi?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da-DK" dirty="0" smtClean="0"/>
              <a:t>Oplægsholdere:</a:t>
            </a:r>
          </a:p>
          <a:p>
            <a:r>
              <a:rPr lang="da-DK" dirty="0" smtClean="0"/>
              <a:t>Mette Risager, LAG Randers-Favrskov</a:t>
            </a:r>
          </a:p>
          <a:p>
            <a:r>
              <a:rPr lang="da-DK" dirty="0" smtClean="0"/>
              <a:t>Svend Aage Nielsen, </a:t>
            </a:r>
            <a:r>
              <a:rPr lang="da-DK" dirty="0" err="1" smtClean="0"/>
              <a:t>Elrofonden</a:t>
            </a:r>
            <a:endParaRPr lang="da-DK" dirty="0" smtClean="0"/>
          </a:p>
          <a:p>
            <a:r>
              <a:rPr lang="da-DK" dirty="0" smtClean="0"/>
              <a:t>Christian Lagoni, </a:t>
            </a:r>
            <a:r>
              <a:rPr lang="da-DK" dirty="0" err="1" smtClean="0"/>
              <a:t>Norlys’</a:t>
            </a:r>
            <a:r>
              <a:rPr lang="da-DK" dirty="0" smtClean="0"/>
              <a:t> Vækstpulje</a:t>
            </a:r>
          </a:p>
          <a:p>
            <a:r>
              <a:rPr lang="da-DK" dirty="0" smtClean="0"/>
              <a:t>Jeg selv (Line Marie Sørensen), Landsbypuljen</a:t>
            </a:r>
          </a:p>
          <a:p>
            <a:r>
              <a:rPr lang="da-DK" dirty="0" smtClean="0"/>
              <a:t>Og så er Birgitte Strøbeck, Kultur og fritid her også</a:t>
            </a:r>
          </a:p>
          <a:p>
            <a:endParaRPr lang="da-DK" dirty="0"/>
          </a:p>
          <a:p>
            <a:r>
              <a:rPr lang="da-DK" dirty="0" smtClean="0"/>
              <a:t>45 deltagere fra over 30 foreninger</a:t>
            </a:r>
          </a:p>
          <a:p>
            <a:r>
              <a:rPr lang="da-DK" dirty="0" smtClean="0"/>
              <a:t>Idrætsforeninger og spejdergrupper</a:t>
            </a:r>
          </a:p>
          <a:p>
            <a:r>
              <a:rPr lang="da-DK" dirty="0" smtClean="0"/>
              <a:t>forsamlingshuse</a:t>
            </a:r>
          </a:p>
          <a:p>
            <a:r>
              <a:rPr lang="da-DK" dirty="0" smtClean="0"/>
              <a:t>sociale foreninger og </a:t>
            </a:r>
            <a:r>
              <a:rPr lang="da-DK" dirty="0" err="1" smtClean="0"/>
              <a:t>venneforeninger</a:t>
            </a:r>
            <a:endParaRPr lang="da-DK" dirty="0" smtClean="0"/>
          </a:p>
          <a:p>
            <a:r>
              <a:rPr lang="da-DK" dirty="0" smtClean="0"/>
              <a:t>enkelte iværksættere</a:t>
            </a:r>
          </a:p>
          <a:p>
            <a:r>
              <a:rPr lang="da-DK" dirty="0" smtClean="0"/>
              <a:t>Og alle jer andre…</a:t>
            </a:r>
          </a:p>
        </p:txBody>
      </p:sp>
    </p:spTree>
    <p:extLst>
      <p:ext uri="{BB962C8B-B14F-4D97-AF65-F5344CB8AC3E}">
        <p14:creationId xmlns:p14="http://schemas.microsoft.com/office/powerpoint/2010/main" val="373087133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091967A6-4059-4D70-B822-7A68A04419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594000"/>
            <a:ext cx="4434345" cy="1366838"/>
          </a:xfrm>
        </p:spPr>
        <p:txBody>
          <a:bodyPr/>
          <a:lstStyle/>
          <a:p>
            <a:r>
              <a:rPr lang="da-DK" dirty="0"/>
              <a:t>Vores rolle og fokus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="" xmlns:a16="http://schemas.microsoft.com/office/drawing/2014/main" id="{0EEB14DC-E90D-486B-9279-0312766A044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5999" y="1920461"/>
            <a:ext cx="5314840" cy="2976702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/>
              <a:t>Med langsigtede infrastrukturløsninger (el-net og fiber-net) gør vi det muligt for mennesker at være i forbindelse med hinanden og omverden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/>
              <a:t>Vores fokusområder er energi og telekommunikation, og vores løsninger bidrager til et grønt og digitaliseret Danmar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/>
              <a:t>Vi tilbyder infrastruktur og services indenfor energi, internet og underholdning</a:t>
            </a:r>
          </a:p>
          <a:p>
            <a:endParaRPr lang="da-DK" sz="1600" dirty="0"/>
          </a:p>
        </p:txBody>
      </p:sp>
      <p:pic>
        <p:nvPicPr>
          <p:cNvPr id="7" name="Pladsholder til billede 6">
            <a:extLst>
              <a:ext uri="{FF2B5EF4-FFF2-40B4-BE49-F238E27FC236}">
                <a16:creationId xmlns="" xmlns:a16="http://schemas.microsoft.com/office/drawing/2014/main" id="{8AEB4110-D1E5-4D24-BC3C-3C9DEE351B61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1161" y="649636"/>
            <a:ext cx="4097202" cy="5416852"/>
          </a:xfrm>
        </p:spPr>
      </p:pic>
      <p:sp>
        <p:nvSpPr>
          <p:cNvPr id="5" name="Pladsholder til slidenummer 4">
            <a:extLst>
              <a:ext uri="{FF2B5EF4-FFF2-40B4-BE49-F238E27FC236}">
                <a16:creationId xmlns="" xmlns:a16="http://schemas.microsoft.com/office/drawing/2014/main" id="{6427439B-FBAC-4C32-AF8B-EA07A3D96F3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95D80666-4561-4DCF-B27F-CF1DAAB4FE75}" type="slidenum">
              <a:rPr lang="da-DK" smtClean="0">
                <a:solidFill>
                  <a:srgbClr val="F8232D"/>
                </a:solidFill>
              </a:rPr>
              <a:pPr/>
              <a:t>20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8" name="Pladsholder til sidefod 4">
            <a:extLst>
              <a:ext uri="{FF2B5EF4-FFF2-40B4-BE49-F238E27FC236}">
                <a16:creationId xmlns="" xmlns:a16="http://schemas.microsoft.com/office/drawing/2014/main" id="{437CD09D-030C-334F-A66E-809E325B9717}"/>
              </a:ext>
            </a:extLst>
          </p:cNvPr>
          <p:cNvSpPr txBox="1">
            <a:spLocks/>
          </p:cNvSpPr>
          <p:nvPr/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l" defTabSz="914400" rtl="0" eaLnBrk="1" latinLnBrk="0" hangingPunct="1">
              <a:defRPr sz="8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 – Randers Kommune</a:t>
            </a:r>
          </a:p>
        </p:txBody>
      </p:sp>
    </p:spTree>
    <p:extLst>
      <p:ext uri="{BB962C8B-B14F-4D97-AF65-F5344CB8AC3E}">
        <p14:creationId xmlns:p14="http://schemas.microsoft.com/office/powerpoint/2010/main" val="135607505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indhold 9">
            <a:extLst>
              <a:ext uri="{FF2B5EF4-FFF2-40B4-BE49-F238E27FC236}">
                <a16:creationId xmlns="" xmlns:a16="http://schemas.microsoft.com/office/drawing/2014/main" id="{01DE5B10-FC69-4692-8C5B-08DC7D46C3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66764" y="1916874"/>
            <a:ext cx="3146476" cy="1133288"/>
          </a:xfrm>
        </p:spPr>
        <p:txBody>
          <a:bodyPr/>
          <a:lstStyle/>
          <a:p>
            <a:pPr marL="0" indent="0">
              <a:buNone/>
            </a:pPr>
            <a:r>
              <a:rPr lang="da-DK" b="1" dirty="0"/>
              <a:t>Silkeborg:</a:t>
            </a:r>
          </a:p>
          <a:p>
            <a:r>
              <a:rPr lang="da-DK" dirty="0"/>
              <a:t>Hovedkontor</a:t>
            </a:r>
          </a:p>
          <a:p>
            <a:r>
              <a:rPr lang="da-DK" dirty="0"/>
              <a:t>Center for fællesfunktioner</a:t>
            </a:r>
          </a:p>
        </p:txBody>
      </p:sp>
      <p:sp>
        <p:nvSpPr>
          <p:cNvPr id="7" name="Titel 1">
            <a:extLst>
              <a:ext uri="{FF2B5EF4-FFF2-40B4-BE49-F238E27FC236}">
                <a16:creationId xmlns="" xmlns:a16="http://schemas.microsoft.com/office/drawing/2014/main" id="{91E37149-0BF1-6948-9AFA-9250BCCFF57A}"/>
              </a:ext>
            </a:extLst>
          </p:cNvPr>
          <p:cNvSpPr txBox="1">
            <a:spLocks/>
          </p:cNvSpPr>
          <p:nvPr/>
        </p:nvSpPr>
        <p:spPr>
          <a:xfrm>
            <a:off x="766763" y="594000"/>
            <a:ext cx="10677545" cy="93503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dirty="0">
                <a:solidFill>
                  <a:prstClr val="black"/>
                </a:solidFill>
              </a:rPr>
              <a:t>Vores </a:t>
            </a:r>
            <a:r>
              <a:rPr lang="da-DK" dirty="0" err="1">
                <a:solidFill>
                  <a:prstClr val="black"/>
                </a:solidFill>
              </a:rPr>
              <a:t>lokationer</a:t>
            </a:r>
            <a:endParaRPr lang="da-DK" dirty="0">
              <a:solidFill>
                <a:prstClr val="black"/>
              </a:solidFill>
            </a:endParaRPr>
          </a:p>
        </p:txBody>
      </p:sp>
      <p:sp>
        <p:nvSpPr>
          <p:cNvPr id="11" name="Pladsholder til slidenummer 5">
            <a:extLst>
              <a:ext uri="{FF2B5EF4-FFF2-40B4-BE49-F238E27FC236}">
                <a16:creationId xmlns="" xmlns:a16="http://schemas.microsoft.com/office/drawing/2014/main" id="{36A5FE1B-7152-3747-8EE6-BD3B5EC9C4B5}"/>
              </a:ext>
            </a:extLst>
          </p:cNvPr>
          <p:cNvSpPr txBox="1">
            <a:spLocks/>
          </p:cNvSpPr>
          <p:nvPr/>
        </p:nvSpPr>
        <p:spPr>
          <a:xfrm>
            <a:off x="382588" y="6380955"/>
            <a:ext cx="324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l" defTabSz="914400" rtl="0" eaLnBrk="1" latinLnBrk="0" hangingPunct="1">
              <a:defRPr sz="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2906F29B-0E9E-4576-AEC9-0657A7532060}" type="slidenum">
              <a:rPr lang="da-DK" smtClean="0">
                <a:solidFill>
                  <a:srgbClr val="F8232D"/>
                </a:solidFill>
              </a:rPr>
              <a:pPr/>
              <a:t>21</a:t>
            </a:fld>
            <a:endParaRPr lang="da-DK" dirty="0">
              <a:solidFill>
                <a:srgbClr val="F8232D"/>
              </a:solidFill>
            </a:endParaRPr>
          </a:p>
        </p:txBody>
      </p:sp>
      <p:sp>
        <p:nvSpPr>
          <p:cNvPr id="12" name="Pladsholder til sidefod 4">
            <a:extLst>
              <a:ext uri="{FF2B5EF4-FFF2-40B4-BE49-F238E27FC236}">
                <a16:creationId xmlns="" xmlns:a16="http://schemas.microsoft.com/office/drawing/2014/main" id="{D45A5C2A-320B-1143-80A9-F4FF79468AA3}"/>
              </a:ext>
            </a:extLst>
          </p:cNvPr>
          <p:cNvSpPr txBox="1">
            <a:spLocks/>
          </p:cNvSpPr>
          <p:nvPr/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l" defTabSz="914400" rtl="0" eaLnBrk="1" latinLnBrk="0" hangingPunct="1">
              <a:defRPr sz="8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 – Randers Kommune</a:t>
            </a:r>
          </a:p>
        </p:txBody>
      </p:sp>
      <p:pic>
        <p:nvPicPr>
          <p:cNvPr id="3" name="Billede 2" descr="Et billede, der indeholder sidder, skjorte&#10;&#10;Automatisk genereret beskrivelse">
            <a:extLst>
              <a:ext uri="{FF2B5EF4-FFF2-40B4-BE49-F238E27FC236}">
                <a16:creationId xmlns="" xmlns:a16="http://schemas.microsoft.com/office/drawing/2014/main" id="{1103D2FC-F535-3649-B4AE-A7A5604069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83816" y="546100"/>
            <a:ext cx="5080000" cy="5765800"/>
          </a:xfrm>
          <a:prstGeom prst="rect">
            <a:avLst/>
          </a:prstGeom>
        </p:spPr>
      </p:pic>
      <p:sp>
        <p:nvSpPr>
          <p:cNvPr id="9" name="Pladsholder til indhold 9">
            <a:extLst>
              <a:ext uri="{FF2B5EF4-FFF2-40B4-BE49-F238E27FC236}">
                <a16:creationId xmlns="" xmlns:a16="http://schemas.microsoft.com/office/drawing/2014/main" id="{59CBAAE8-B618-E14C-9E75-A7559631FE85}"/>
              </a:ext>
            </a:extLst>
          </p:cNvPr>
          <p:cNvSpPr txBox="1">
            <a:spLocks/>
          </p:cNvSpPr>
          <p:nvPr/>
        </p:nvSpPr>
        <p:spPr>
          <a:xfrm>
            <a:off x="766764" y="5065039"/>
            <a:ext cx="3146476" cy="6690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1600" indent="-201600" algn="l" defTabSz="914400" rtl="0" eaLnBrk="1" latinLnBrk="0" hangingPunct="1">
              <a:lnSpc>
                <a:spcPct val="125000"/>
              </a:lnSpc>
              <a:spcBef>
                <a:spcPts val="1000"/>
              </a:spcBef>
              <a:buSzPct val="11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800" indent="-201600" algn="l" defTabSz="914400" rtl="0" eaLnBrk="1" latinLnBrk="0" hangingPunct="1">
              <a:lnSpc>
                <a:spcPct val="125000"/>
              </a:lnSpc>
              <a:spcBef>
                <a:spcPts val="800"/>
              </a:spcBef>
              <a:buFont typeface="Verdana" panose="020B060403050404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16000" indent="-201600" algn="l" defTabSz="914400" rtl="0" eaLnBrk="1" latinLnBrk="0" hangingPunct="1">
              <a:lnSpc>
                <a:spcPct val="125000"/>
              </a:lnSpc>
              <a:spcBef>
                <a:spcPts val="800"/>
              </a:spcBef>
              <a:buFont typeface="Verdana" panose="020B0604030504040204" pitchFamily="34" charset="0"/>
              <a:buChar char="◦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3200" indent="-201600" algn="l" defTabSz="914400" rtl="0" eaLnBrk="1" latinLnBrk="0" hangingPunct="1">
              <a:lnSpc>
                <a:spcPct val="125000"/>
              </a:lnSpc>
              <a:spcBef>
                <a:spcPts val="800"/>
              </a:spcBef>
              <a:buSzPct val="11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0400" indent="-201600" algn="l" defTabSz="914400" rtl="0" eaLnBrk="1" latinLnBrk="0" hangingPunct="1">
              <a:lnSpc>
                <a:spcPct val="125000"/>
              </a:lnSpc>
              <a:spcBef>
                <a:spcPts val="800"/>
              </a:spcBef>
              <a:buFont typeface="Verdana" panose="020B060403050404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a-DK" b="1" dirty="0">
                <a:solidFill>
                  <a:prstClr val="black"/>
                </a:solidFill>
              </a:rPr>
              <a:t>Esbjerg:</a:t>
            </a:r>
          </a:p>
          <a:p>
            <a:r>
              <a:rPr lang="da-DK" dirty="0">
                <a:solidFill>
                  <a:prstClr val="black"/>
                </a:solidFill>
              </a:rPr>
              <a:t>Center for elforsyning</a:t>
            </a:r>
          </a:p>
        </p:txBody>
      </p:sp>
      <p:sp>
        <p:nvSpPr>
          <p:cNvPr id="13" name="Pladsholder til indhold 9">
            <a:extLst>
              <a:ext uri="{FF2B5EF4-FFF2-40B4-BE49-F238E27FC236}">
                <a16:creationId xmlns="" xmlns:a16="http://schemas.microsoft.com/office/drawing/2014/main" id="{B9600155-6BDF-E949-86D0-3A03E2E4BB2E}"/>
              </a:ext>
            </a:extLst>
          </p:cNvPr>
          <p:cNvSpPr txBox="1">
            <a:spLocks/>
          </p:cNvSpPr>
          <p:nvPr/>
        </p:nvSpPr>
        <p:spPr>
          <a:xfrm>
            <a:off x="9209252" y="4274161"/>
            <a:ext cx="1661804" cy="66901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1600" indent="-201600" algn="l" defTabSz="914400" rtl="0" eaLnBrk="1" latinLnBrk="0" hangingPunct="1">
              <a:lnSpc>
                <a:spcPct val="125000"/>
              </a:lnSpc>
              <a:spcBef>
                <a:spcPts val="1000"/>
              </a:spcBef>
              <a:buSzPct val="11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800" indent="-201600" algn="l" defTabSz="914400" rtl="0" eaLnBrk="1" latinLnBrk="0" hangingPunct="1">
              <a:lnSpc>
                <a:spcPct val="125000"/>
              </a:lnSpc>
              <a:spcBef>
                <a:spcPts val="800"/>
              </a:spcBef>
              <a:buFont typeface="Verdana" panose="020B060403050404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16000" indent="-201600" algn="l" defTabSz="914400" rtl="0" eaLnBrk="1" latinLnBrk="0" hangingPunct="1">
              <a:lnSpc>
                <a:spcPct val="125000"/>
              </a:lnSpc>
              <a:spcBef>
                <a:spcPts val="800"/>
              </a:spcBef>
              <a:buFont typeface="Verdana" panose="020B0604030504040204" pitchFamily="34" charset="0"/>
              <a:buChar char="◦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3200" indent="-201600" algn="l" defTabSz="914400" rtl="0" eaLnBrk="1" latinLnBrk="0" hangingPunct="1">
              <a:lnSpc>
                <a:spcPct val="125000"/>
              </a:lnSpc>
              <a:spcBef>
                <a:spcPts val="800"/>
              </a:spcBef>
              <a:buSzPct val="11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0400" indent="-201600" algn="l" defTabSz="914400" rtl="0" eaLnBrk="1" latinLnBrk="0" hangingPunct="1">
              <a:lnSpc>
                <a:spcPct val="125000"/>
              </a:lnSpc>
              <a:spcBef>
                <a:spcPts val="800"/>
              </a:spcBef>
              <a:buFont typeface="Verdana" panose="020B060403050404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a-DK" b="1" dirty="0">
                <a:solidFill>
                  <a:prstClr val="black"/>
                </a:solidFill>
              </a:rPr>
              <a:t>København:</a:t>
            </a:r>
          </a:p>
          <a:p>
            <a:r>
              <a:rPr lang="da-DK" dirty="0">
                <a:solidFill>
                  <a:prstClr val="black"/>
                </a:solidFill>
              </a:rPr>
              <a:t>Boxer</a:t>
            </a:r>
          </a:p>
        </p:txBody>
      </p:sp>
      <p:sp>
        <p:nvSpPr>
          <p:cNvPr id="14" name="Pladsholder til indhold 9">
            <a:extLst>
              <a:ext uri="{FF2B5EF4-FFF2-40B4-BE49-F238E27FC236}">
                <a16:creationId xmlns="" xmlns:a16="http://schemas.microsoft.com/office/drawing/2014/main" id="{D84E0138-858D-1E4C-9E6C-13F749DBD3AB}"/>
              </a:ext>
            </a:extLst>
          </p:cNvPr>
          <p:cNvSpPr txBox="1">
            <a:spLocks/>
          </p:cNvSpPr>
          <p:nvPr/>
        </p:nvSpPr>
        <p:spPr>
          <a:xfrm>
            <a:off x="7374038" y="737003"/>
            <a:ext cx="3146476" cy="102297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1600" indent="-201600" algn="l" defTabSz="914400" rtl="0" eaLnBrk="1" latinLnBrk="0" hangingPunct="1">
              <a:lnSpc>
                <a:spcPct val="125000"/>
              </a:lnSpc>
              <a:spcBef>
                <a:spcPts val="1000"/>
              </a:spcBef>
              <a:buSzPct val="11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800" indent="-201600" algn="l" defTabSz="914400" rtl="0" eaLnBrk="1" latinLnBrk="0" hangingPunct="1">
              <a:lnSpc>
                <a:spcPct val="125000"/>
              </a:lnSpc>
              <a:spcBef>
                <a:spcPts val="800"/>
              </a:spcBef>
              <a:buFont typeface="Verdana" panose="020B060403050404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16000" indent="-201600" algn="l" defTabSz="914400" rtl="0" eaLnBrk="1" latinLnBrk="0" hangingPunct="1">
              <a:lnSpc>
                <a:spcPct val="125000"/>
              </a:lnSpc>
              <a:spcBef>
                <a:spcPts val="800"/>
              </a:spcBef>
              <a:buFont typeface="Verdana" panose="020B0604030504040204" pitchFamily="34" charset="0"/>
              <a:buChar char="◦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3200" indent="-201600" algn="l" defTabSz="914400" rtl="0" eaLnBrk="1" latinLnBrk="0" hangingPunct="1">
              <a:lnSpc>
                <a:spcPct val="125000"/>
              </a:lnSpc>
              <a:spcBef>
                <a:spcPts val="800"/>
              </a:spcBef>
              <a:buSzPct val="11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0400" indent="-201600" algn="l" defTabSz="914400" rtl="0" eaLnBrk="1" latinLnBrk="0" hangingPunct="1">
              <a:lnSpc>
                <a:spcPct val="125000"/>
              </a:lnSpc>
              <a:spcBef>
                <a:spcPts val="800"/>
              </a:spcBef>
              <a:buFont typeface="Verdana" panose="020B060403050404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a-DK" b="1" dirty="0">
                <a:solidFill>
                  <a:prstClr val="black"/>
                </a:solidFill>
              </a:rPr>
              <a:t>Aalborg:</a:t>
            </a:r>
          </a:p>
          <a:p>
            <a:r>
              <a:rPr lang="da-DK" dirty="0">
                <a:solidFill>
                  <a:prstClr val="black"/>
                </a:solidFill>
              </a:rPr>
              <a:t>Center for kommerciel</a:t>
            </a:r>
            <a:br>
              <a:rPr lang="da-DK" dirty="0">
                <a:solidFill>
                  <a:prstClr val="black"/>
                </a:solidFill>
              </a:rPr>
            </a:br>
            <a:r>
              <a:rPr lang="da-DK" dirty="0">
                <a:solidFill>
                  <a:prstClr val="black"/>
                </a:solidFill>
              </a:rPr>
              <a:t>energihandel</a:t>
            </a:r>
          </a:p>
        </p:txBody>
      </p:sp>
      <p:sp>
        <p:nvSpPr>
          <p:cNvPr id="16" name="Pladsholder til indhold 9">
            <a:extLst>
              <a:ext uri="{FF2B5EF4-FFF2-40B4-BE49-F238E27FC236}">
                <a16:creationId xmlns="" xmlns:a16="http://schemas.microsoft.com/office/drawing/2014/main" id="{9424E29A-FD6A-894C-966C-004B0F0A3B9B}"/>
              </a:ext>
            </a:extLst>
          </p:cNvPr>
          <p:cNvSpPr txBox="1">
            <a:spLocks/>
          </p:cNvSpPr>
          <p:nvPr/>
        </p:nvSpPr>
        <p:spPr>
          <a:xfrm>
            <a:off x="7374038" y="2664127"/>
            <a:ext cx="3146476" cy="7058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201600" indent="-201600" algn="l" defTabSz="914400" rtl="0" eaLnBrk="1" latinLnBrk="0" hangingPunct="1">
              <a:lnSpc>
                <a:spcPct val="125000"/>
              </a:lnSpc>
              <a:spcBef>
                <a:spcPts val="1000"/>
              </a:spcBef>
              <a:buSzPct val="11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8800" indent="-201600" algn="l" defTabSz="914400" rtl="0" eaLnBrk="1" latinLnBrk="0" hangingPunct="1">
              <a:lnSpc>
                <a:spcPct val="125000"/>
              </a:lnSpc>
              <a:spcBef>
                <a:spcPts val="800"/>
              </a:spcBef>
              <a:buFont typeface="Verdana" panose="020B060403050404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16000" indent="-201600" algn="l" defTabSz="914400" rtl="0" eaLnBrk="1" latinLnBrk="0" hangingPunct="1">
              <a:lnSpc>
                <a:spcPct val="125000"/>
              </a:lnSpc>
              <a:spcBef>
                <a:spcPts val="800"/>
              </a:spcBef>
              <a:buFont typeface="Verdana" panose="020B0604030504040204" pitchFamily="34" charset="0"/>
              <a:buChar char="◦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73200" indent="-201600" algn="l" defTabSz="914400" rtl="0" eaLnBrk="1" latinLnBrk="0" hangingPunct="1">
              <a:lnSpc>
                <a:spcPct val="125000"/>
              </a:lnSpc>
              <a:spcBef>
                <a:spcPts val="800"/>
              </a:spcBef>
              <a:buSzPct val="115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30400" indent="-201600" algn="l" defTabSz="914400" rtl="0" eaLnBrk="1" latinLnBrk="0" hangingPunct="1">
              <a:lnSpc>
                <a:spcPct val="125000"/>
              </a:lnSpc>
              <a:spcBef>
                <a:spcPts val="800"/>
              </a:spcBef>
              <a:buFont typeface="Verdana" panose="020B0604030504040204" pitchFamily="34" charset="0"/>
              <a:buChar char="‒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da-DK" b="1" dirty="0">
                <a:solidFill>
                  <a:prstClr val="black"/>
                </a:solidFill>
              </a:rPr>
              <a:t>Aarhus:</a:t>
            </a:r>
          </a:p>
          <a:p>
            <a:r>
              <a:rPr lang="da-DK" dirty="0">
                <a:solidFill>
                  <a:prstClr val="black"/>
                </a:solidFill>
              </a:rPr>
              <a:t>Center for teleaktiviteter</a:t>
            </a:r>
          </a:p>
        </p:txBody>
      </p:sp>
      <p:cxnSp>
        <p:nvCxnSpPr>
          <p:cNvPr id="5" name="Lige forbindelse 4">
            <a:extLst>
              <a:ext uri="{FF2B5EF4-FFF2-40B4-BE49-F238E27FC236}">
                <a16:creationId xmlns="" xmlns:a16="http://schemas.microsoft.com/office/drawing/2014/main" id="{ACE7BFEE-B5EC-0146-B729-2BDC9DA82EF4}"/>
              </a:ext>
            </a:extLst>
          </p:cNvPr>
          <p:cNvCxnSpPr/>
          <p:nvPr/>
        </p:nvCxnSpPr>
        <p:spPr>
          <a:xfrm>
            <a:off x="2025445" y="2074606"/>
            <a:ext cx="3411794" cy="1295402"/>
          </a:xfrm>
          <a:prstGeom prst="line">
            <a:avLst/>
          </a:prstGeom>
          <a:ln w="254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Lige forbindelse 17">
            <a:extLst>
              <a:ext uri="{FF2B5EF4-FFF2-40B4-BE49-F238E27FC236}">
                <a16:creationId xmlns="" xmlns:a16="http://schemas.microsoft.com/office/drawing/2014/main" id="{75FD240E-2F50-7648-A2CD-6334EE0F122F}"/>
              </a:ext>
            </a:extLst>
          </p:cNvPr>
          <p:cNvCxnSpPr/>
          <p:nvPr/>
        </p:nvCxnSpPr>
        <p:spPr>
          <a:xfrm flipV="1">
            <a:off x="1809135" y="4487189"/>
            <a:ext cx="2507226" cy="74357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Lige forbindelse 19">
            <a:extLst>
              <a:ext uri="{FF2B5EF4-FFF2-40B4-BE49-F238E27FC236}">
                <a16:creationId xmlns="" xmlns:a16="http://schemas.microsoft.com/office/drawing/2014/main" id="{98C2EAC5-0C20-9A42-BD3B-F65625B7DD0A}"/>
              </a:ext>
            </a:extLst>
          </p:cNvPr>
          <p:cNvCxnSpPr/>
          <p:nvPr/>
        </p:nvCxnSpPr>
        <p:spPr>
          <a:xfrm flipV="1">
            <a:off x="5968181" y="855305"/>
            <a:ext cx="1307690" cy="831466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Lige forbindelse 21">
            <a:extLst>
              <a:ext uri="{FF2B5EF4-FFF2-40B4-BE49-F238E27FC236}">
                <a16:creationId xmlns="" xmlns:a16="http://schemas.microsoft.com/office/drawing/2014/main" id="{AA33F141-85C5-C44D-8CDF-0DCD885AA481}"/>
              </a:ext>
            </a:extLst>
          </p:cNvPr>
          <p:cNvCxnSpPr>
            <a:cxnSpLocks/>
          </p:cNvCxnSpPr>
          <p:nvPr/>
        </p:nvCxnSpPr>
        <p:spPr>
          <a:xfrm flipV="1">
            <a:off x="6223816" y="2802194"/>
            <a:ext cx="1061887" cy="49161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Lige forbindelse 24">
            <a:extLst>
              <a:ext uri="{FF2B5EF4-FFF2-40B4-BE49-F238E27FC236}">
                <a16:creationId xmlns="" xmlns:a16="http://schemas.microsoft.com/office/drawing/2014/main" id="{76F6E621-3F0F-B64F-AF6B-E5704CE86E6D}"/>
              </a:ext>
            </a:extLst>
          </p:cNvPr>
          <p:cNvCxnSpPr>
            <a:cxnSpLocks/>
          </p:cNvCxnSpPr>
          <p:nvPr/>
        </p:nvCxnSpPr>
        <p:spPr>
          <a:xfrm flipH="1" flipV="1">
            <a:off x="8613058" y="4178710"/>
            <a:ext cx="521110" cy="226142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8789818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138B81A6-01A4-E141-B2F3-D6164B76FB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5999" y="622970"/>
            <a:ext cx="4990726" cy="1366838"/>
          </a:xfrm>
        </p:spPr>
        <p:txBody>
          <a:bodyPr anchor="t" anchorCtr="0"/>
          <a:lstStyle/>
          <a:p>
            <a:r>
              <a:rPr lang="da-DK" sz="3400" dirty="0" err="1"/>
              <a:t>Norlys</a:t>
            </a:r>
            <a:r>
              <a:rPr lang="da-DK" sz="3400" dirty="0"/>
              <a:t> Vækstpulje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="" xmlns:a16="http://schemas.microsoft.com/office/drawing/2014/main" id="{4A8E9512-CD77-8D41-A0E1-E5C89A1AA50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095999" y="1940648"/>
            <a:ext cx="5329237" cy="379340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 err="1">
                <a:cs typeface="Calibri" panose="020F0502020204030204" pitchFamily="34" charset="0"/>
              </a:rPr>
              <a:t>Norlys</a:t>
            </a:r>
            <a:r>
              <a:rPr lang="da-DK" sz="1600" dirty="0">
                <a:cs typeface="Calibri" panose="020F0502020204030204" pitchFamily="34" charset="0"/>
              </a:rPr>
              <a:t> Vækstpulje omfatter primært Norlys’ </a:t>
            </a:r>
            <a:r>
              <a:rPr lang="da-DK" sz="1600" dirty="0" err="1">
                <a:cs typeface="Calibri" panose="020F0502020204030204" pitchFamily="34" charset="0"/>
              </a:rPr>
              <a:t>ejergeografi</a:t>
            </a:r>
            <a:endParaRPr lang="da-DK" sz="1600" dirty="0">
              <a:cs typeface="Calibri" panose="020F050202020403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>
                <a:cs typeface="Calibri" panose="020F0502020204030204" pitchFamily="34" charset="0"/>
              </a:rPr>
              <a:t>Dette har betydning for Randers og Hobro (</a:t>
            </a:r>
            <a:r>
              <a:rPr lang="da-DK" sz="1600" dirty="0" err="1">
                <a:cs typeface="Calibri" panose="020F0502020204030204" pitchFamily="34" charset="0"/>
              </a:rPr>
              <a:t>Verdos</a:t>
            </a:r>
            <a:r>
              <a:rPr lang="da-DK" sz="1600" dirty="0">
                <a:cs typeface="Calibri" panose="020F0502020204030204" pitchFamily="34" charset="0"/>
              </a:rPr>
              <a:t> tidligere el-forsyningsområde – vi kommer ind på dette til sids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 err="1">
                <a:cs typeface="Calibri" panose="020F0502020204030204" pitchFamily="34" charset="0"/>
              </a:rPr>
              <a:t>Norlys</a:t>
            </a:r>
            <a:r>
              <a:rPr lang="da-DK" sz="1600" dirty="0">
                <a:cs typeface="Calibri" panose="020F0502020204030204" pitchFamily="34" charset="0"/>
              </a:rPr>
              <a:t> Vækstpulje er inddelt i 4 vækstpuljeområder med hver sin repræsentantskabsvalgte bestyrel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>
                <a:cs typeface="Calibri" panose="020F0502020204030204" pitchFamily="34" charset="0"/>
              </a:rPr>
              <a:t>Randers-området er en del af </a:t>
            </a:r>
            <a:r>
              <a:rPr lang="da-DK" sz="1600" dirty="0" err="1">
                <a:cs typeface="Calibri" panose="020F0502020204030204" pitchFamily="34" charset="0"/>
              </a:rPr>
              <a:t>Norlys</a:t>
            </a:r>
            <a:r>
              <a:rPr lang="da-DK" sz="1600" dirty="0">
                <a:cs typeface="Calibri" panose="020F0502020204030204" pitchFamily="34" charset="0"/>
              </a:rPr>
              <a:t> Vækstpulje Mid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 err="1">
                <a:cs typeface="Calibri" panose="020F0502020204030204" pitchFamily="34" charset="0"/>
              </a:rPr>
              <a:t>Norlys</a:t>
            </a:r>
            <a:r>
              <a:rPr lang="da-DK" sz="1600" dirty="0">
                <a:cs typeface="Calibri" panose="020F0502020204030204" pitchFamily="34" charset="0"/>
              </a:rPr>
              <a:t> Vækstpulje som helhed kan uddele knap 32 mio. kr. frem til 30. april 2021 – heraf godt 10 mio. kr. i </a:t>
            </a:r>
            <a:r>
              <a:rPr lang="da-DK" sz="1600" dirty="0" err="1">
                <a:cs typeface="Calibri" panose="020F0502020204030204" pitchFamily="34" charset="0"/>
              </a:rPr>
              <a:t>Norlys</a:t>
            </a:r>
            <a:r>
              <a:rPr lang="da-DK" sz="1600" dirty="0">
                <a:cs typeface="Calibri" panose="020F0502020204030204" pitchFamily="34" charset="0"/>
              </a:rPr>
              <a:t> Vækstpulje </a:t>
            </a:r>
            <a:r>
              <a:rPr lang="da-DK" sz="1600" dirty="0" err="1">
                <a:cs typeface="Calibri" panose="020F0502020204030204" pitchFamily="34" charset="0"/>
              </a:rPr>
              <a:t>Midts</a:t>
            </a:r>
            <a:r>
              <a:rPr lang="da-DK" sz="1600" dirty="0">
                <a:cs typeface="Calibri" panose="020F0502020204030204" pitchFamily="34" charset="0"/>
              </a:rPr>
              <a:t> område</a:t>
            </a:r>
          </a:p>
          <a:p>
            <a:endParaRPr lang="da-DK" sz="1600" dirty="0">
              <a:cs typeface="Calibri" panose="020F0502020204030204" pitchFamily="34" charset="0"/>
            </a:endParaRPr>
          </a:p>
        </p:txBody>
      </p:sp>
      <p:sp>
        <p:nvSpPr>
          <p:cNvPr id="7" name="Pladsholder til slidenummer 5">
            <a:extLst>
              <a:ext uri="{FF2B5EF4-FFF2-40B4-BE49-F238E27FC236}">
                <a16:creationId xmlns="" xmlns:a16="http://schemas.microsoft.com/office/drawing/2014/main" id="{C86FDD09-F9E9-1A47-B646-5ABE3905C4E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82588" y="6380955"/>
            <a:ext cx="324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fld id="{2906F29B-0E9E-4576-AEC9-0657A7532060}" type="slidenum">
              <a:rPr lang="da-DK" smtClean="0">
                <a:solidFill>
                  <a:srgbClr val="F7232C"/>
                </a:solidFill>
              </a:rPr>
              <a:pPr/>
              <a:t>22</a:t>
            </a:fld>
            <a:endParaRPr lang="da-DK" dirty="0">
              <a:solidFill>
                <a:srgbClr val="F7232C"/>
              </a:solidFill>
            </a:endParaRPr>
          </a:p>
        </p:txBody>
      </p:sp>
      <p:sp>
        <p:nvSpPr>
          <p:cNvPr id="8" name="Pladsholder til sidefod 4">
            <a:extLst>
              <a:ext uri="{FF2B5EF4-FFF2-40B4-BE49-F238E27FC236}">
                <a16:creationId xmlns="" xmlns:a16="http://schemas.microsoft.com/office/drawing/2014/main" id="{E5C54EA7-3AF7-E34A-9DBD-53B0145605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cap="all" baseline="0">
                <a:solidFill>
                  <a:schemeClr val="tx1"/>
                </a:solidFill>
              </a:defRPr>
            </a:lvl1pPr>
          </a:lstStyle>
          <a:p>
            <a:r>
              <a:rPr lang="da-DK" dirty="0" err="1">
                <a:solidFill>
                  <a:srgbClr val="000000"/>
                </a:solidFill>
              </a:rPr>
              <a:t>Norlys</a:t>
            </a:r>
            <a:r>
              <a:rPr lang="da-DK" dirty="0">
                <a:solidFill>
                  <a:srgbClr val="000000"/>
                </a:solidFill>
              </a:rPr>
              <a:t> Vækstpulje – Randers Kommune</a:t>
            </a:r>
          </a:p>
        </p:txBody>
      </p:sp>
      <p:pic>
        <p:nvPicPr>
          <p:cNvPr id="12" name="Pladsholder til billede 6">
            <a:extLst>
              <a:ext uri="{FF2B5EF4-FFF2-40B4-BE49-F238E27FC236}">
                <a16:creationId xmlns="" xmlns:a16="http://schemas.microsoft.com/office/drawing/2014/main" id="{1B85F68D-5245-6C49-96AD-C3755E4488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97702" y="697055"/>
            <a:ext cx="4018684" cy="54638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14981856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="" xmlns:a16="http://schemas.microsoft.com/office/drawing/2014/main" id="{6A897DD5-6C31-445E-8D24-78407782EA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4000"/>
            <a:ext cx="4943401" cy="1015200"/>
          </a:xfrm>
        </p:spPr>
        <p:txBody>
          <a:bodyPr/>
          <a:lstStyle/>
          <a:p>
            <a:r>
              <a:rPr lang="da-DK" dirty="0"/>
              <a:t>Hvorfor </a:t>
            </a:r>
            <a:r>
              <a:rPr lang="da-DK" dirty="0" err="1"/>
              <a:t>Norlys</a:t>
            </a:r>
            <a:r>
              <a:rPr lang="da-DK" dirty="0"/>
              <a:t> Vækstpulje?</a:t>
            </a: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="" xmlns:a16="http://schemas.microsoft.com/office/drawing/2014/main" id="{A4E0980B-FB5C-4B08-982E-70D46D4732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978" y="1930046"/>
            <a:ext cx="4625948" cy="3804004"/>
          </a:xfrm>
        </p:spPr>
        <p:txBody>
          <a:bodyPr/>
          <a:lstStyle/>
          <a:p>
            <a:pPr marL="0" indent="0">
              <a:buNone/>
            </a:pPr>
            <a:r>
              <a:rPr lang="da-DK" dirty="0"/>
              <a:t>I Norlys’ </a:t>
            </a:r>
            <a:r>
              <a:rPr lang="da-DK" dirty="0" err="1"/>
              <a:t>ejerstrategi</a:t>
            </a:r>
            <a:r>
              <a:rPr lang="da-DK" dirty="0"/>
              <a:t> har vi defineret de fordele, vores andelshavere skal opleve, herunder…</a:t>
            </a:r>
          </a:p>
          <a:p>
            <a:r>
              <a:rPr lang="da-DK" dirty="0"/>
              <a:t>Stabil energiforsyning til en lav pris</a:t>
            </a:r>
          </a:p>
          <a:p>
            <a:r>
              <a:rPr lang="da-DK" dirty="0"/>
              <a:t>Adgang til hurtigt internet inden udgangen af 2023</a:t>
            </a:r>
          </a:p>
          <a:p>
            <a:r>
              <a:rPr lang="da-DK" dirty="0"/>
              <a:t>Støtte til lokale initiativer gennem </a:t>
            </a:r>
            <a:r>
              <a:rPr lang="da-DK" dirty="0" err="1"/>
              <a:t>Norlys</a:t>
            </a:r>
            <a:r>
              <a:rPr lang="da-DK" dirty="0"/>
              <a:t> Vækstpulje som fremadrettet kan gøre en forskel for andelshaverne i </a:t>
            </a:r>
            <a:r>
              <a:rPr lang="da-DK" dirty="0" err="1"/>
              <a:t>Norlys</a:t>
            </a:r>
            <a:r>
              <a:rPr lang="da-DK" dirty="0"/>
              <a:t> a.m.b.a.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="" xmlns:a16="http://schemas.microsoft.com/office/drawing/2014/main" id="{A6F0CE6D-0078-784B-BD64-9CD9CDFEFA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2588" y="6380955"/>
            <a:ext cx="324000" cy="144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2906F29B-0E9E-4576-AEC9-0657A7532060}" type="slidenum">
              <a:rPr lang="da-DK" smtClean="0">
                <a:solidFill>
                  <a:srgbClr val="F8232D"/>
                </a:solidFill>
              </a:rPr>
              <a:pPr>
                <a:spcAft>
                  <a:spcPts val="600"/>
                </a:spcAft>
              </a:pPr>
              <a:t>23</a:t>
            </a:fld>
            <a:endParaRPr lang="da-DK">
              <a:solidFill>
                <a:srgbClr val="F8232D"/>
              </a:solidFill>
            </a:endParaRPr>
          </a:p>
        </p:txBody>
      </p:sp>
      <p:pic>
        <p:nvPicPr>
          <p:cNvPr id="17" name="Billede 16">
            <a:extLst>
              <a:ext uri="{FF2B5EF4-FFF2-40B4-BE49-F238E27FC236}">
                <a16:creationId xmlns="" xmlns:a16="http://schemas.microsoft.com/office/drawing/2014/main" id="{A21468B7-986A-6B41-8989-4CF4A48D8D77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7"/>
          <a:stretch/>
        </p:blipFill>
        <p:spPr>
          <a:xfrm>
            <a:off x="6096000" y="10"/>
            <a:ext cx="6096000" cy="6853228"/>
          </a:xfrm>
          <a:prstGeom prst="rect">
            <a:avLst/>
          </a:prstGeom>
          <a:noFill/>
          <a:ln w="127000">
            <a:noFill/>
          </a:ln>
        </p:spPr>
      </p:pic>
      <p:sp>
        <p:nvSpPr>
          <p:cNvPr id="28" name="Text Placeholder 6">
            <a:extLst>
              <a:ext uri="{FF2B5EF4-FFF2-40B4-BE49-F238E27FC236}">
                <a16:creationId xmlns="" xmlns:a16="http://schemas.microsoft.com/office/drawing/2014/main" id="{9A34AD27-ED78-4A89-B5B5-0E7442F5F3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853400" y="6393180"/>
            <a:ext cx="957600" cy="18351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Pladsholder til sidefod 4">
            <a:extLst>
              <a:ext uri="{FF2B5EF4-FFF2-40B4-BE49-F238E27FC236}">
                <a16:creationId xmlns="" xmlns:a16="http://schemas.microsoft.com/office/drawing/2014/main" id="{DCFB4EA4-3E05-1343-878F-CCC77D2F02FD}"/>
              </a:ext>
            </a:extLst>
          </p:cNvPr>
          <p:cNvSpPr txBox="1">
            <a:spLocks/>
          </p:cNvSpPr>
          <p:nvPr/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l" defTabSz="914400" rtl="0" eaLnBrk="1" latinLnBrk="0" hangingPunct="1">
              <a:defRPr sz="8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 – Randers Kommune</a:t>
            </a:r>
          </a:p>
        </p:txBody>
      </p:sp>
    </p:spTree>
    <p:extLst>
      <p:ext uri="{BB962C8B-B14F-4D97-AF65-F5344CB8AC3E}">
        <p14:creationId xmlns:p14="http://schemas.microsoft.com/office/powerpoint/2010/main" val="282258429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="" xmlns:a16="http://schemas.microsoft.com/office/drawing/2014/main" id="{6A897DD5-6C31-445E-8D24-78407782EA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4000"/>
            <a:ext cx="4943401" cy="1015200"/>
          </a:xfrm>
        </p:spPr>
        <p:txBody>
          <a:bodyPr/>
          <a:lstStyle/>
          <a:p>
            <a:r>
              <a:rPr lang="da-DK" dirty="0"/>
              <a:t>Processen</a:t>
            </a: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="" xmlns:a16="http://schemas.microsoft.com/office/drawing/2014/main" id="{A4E0980B-FB5C-4B08-982E-70D46D4732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978" y="1220400"/>
            <a:ext cx="4842409" cy="3804004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da-DK" dirty="0"/>
              <a:t>Norlys Vækstpulje er en del af fusionsaftalen mellem Eniig og SE</a:t>
            </a:r>
          </a:p>
          <a:p>
            <a:pPr>
              <a:lnSpc>
                <a:spcPct val="100000"/>
              </a:lnSpc>
            </a:pPr>
            <a:r>
              <a:rPr lang="da-DK" dirty="0"/>
              <a:t>Vækstpuljeudvalg har udarbejdet rammerne for vækstpuljen</a:t>
            </a:r>
          </a:p>
          <a:p>
            <a:pPr>
              <a:lnSpc>
                <a:spcPct val="100000"/>
              </a:lnSpc>
            </a:pPr>
            <a:r>
              <a:rPr lang="da-DK" dirty="0"/>
              <a:t>Forretningsorden for vækstpuljen blev godkendt på repræsentantskabsmødet </a:t>
            </a:r>
            <a:br>
              <a:rPr lang="da-DK" dirty="0"/>
            </a:br>
            <a:r>
              <a:rPr lang="da-DK" dirty="0"/>
              <a:t>den 30. april 2020 </a:t>
            </a:r>
          </a:p>
          <a:p>
            <a:pPr>
              <a:lnSpc>
                <a:spcPct val="100000"/>
              </a:lnSpc>
            </a:pPr>
            <a:r>
              <a:rPr lang="da-DK" dirty="0"/>
              <a:t>Bestyrelsesmedlemmer blev valgt i juni 2020</a:t>
            </a:r>
          </a:p>
          <a:p>
            <a:pPr>
              <a:lnSpc>
                <a:spcPct val="100000"/>
              </a:lnSpc>
            </a:pPr>
            <a:r>
              <a:rPr lang="da-DK" dirty="0"/>
              <a:t>Vi åbnede for ansøgninger til første ansøgningsrunde den 31. august 2020 </a:t>
            </a:r>
          </a:p>
          <a:p>
            <a:pPr>
              <a:lnSpc>
                <a:spcPct val="100000"/>
              </a:lnSpc>
            </a:pPr>
            <a:r>
              <a:rPr lang="da-DK" dirty="0"/>
              <a:t>Ansøgningsfrist 15. oktober 2020</a:t>
            </a:r>
          </a:p>
          <a:p>
            <a:pPr>
              <a:lnSpc>
                <a:spcPct val="100000"/>
              </a:lnSpc>
            </a:pPr>
            <a:r>
              <a:rPr lang="da-DK" dirty="0"/>
              <a:t>Bevillingsmøder i november 2020 i de 4 vækstpulje-bestyrelser</a:t>
            </a:r>
          </a:p>
          <a:p>
            <a:pPr>
              <a:lnSpc>
                <a:spcPct val="100000"/>
              </a:lnSpc>
            </a:pPr>
            <a:r>
              <a:rPr lang="da-DK" dirty="0"/>
              <a:t>Tilsagn/afslag sendes til ansøgere </a:t>
            </a:r>
            <a:br>
              <a:rPr lang="da-DK" dirty="0"/>
            </a:br>
            <a:r>
              <a:rPr lang="da-DK" dirty="0"/>
              <a:t>9. december 2020</a:t>
            </a:r>
          </a:p>
          <a:p>
            <a:pPr>
              <a:lnSpc>
                <a:spcPct val="100000"/>
              </a:lnSpc>
            </a:pPr>
            <a:r>
              <a:rPr lang="da-DK" dirty="0"/>
              <a:t>Næste ansøgningsfrist er 1. marts 2021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="" xmlns:a16="http://schemas.microsoft.com/office/drawing/2014/main" id="{A6F0CE6D-0078-784B-BD64-9CD9CDFEFA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2588" y="6380955"/>
            <a:ext cx="324000" cy="144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2906F29B-0E9E-4576-AEC9-0657A7532060}" type="slidenum">
              <a:rPr lang="da-DK" smtClean="0">
                <a:solidFill>
                  <a:srgbClr val="F8232D"/>
                </a:solidFill>
              </a:rPr>
              <a:pPr>
                <a:spcAft>
                  <a:spcPts val="600"/>
                </a:spcAft>
              </a:pPr>
              <a:t>24</a:t>
            </a:fld>
            <a:endParaRPr lang="da-DK">
              <a:solidFill>
                <a:srgbClr val="F8232D"/>
              </a:solidFill>
            </a:endParaRPr>
          </a:p>
        </p:txBody>
      </p:sp>
      <p:pic>
        <p:nvPicPr>
          <p:cNvPr id="17" name="Billede 16">
            <a:extLst>
              <a:ext uri="{FF2B5EF4-FFF2-40B4-BE49-F238E27FC236}">
                <a16:creationId xmlns="" xmlns:a16="http://schemas.microsoft.com/office/drawing/2014/main" id="{A21468B7-986A-6B41-8989-4CF4A48D8D77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8121" y="10"/>
            <a:ext cx="6091758" cy="6853228"/>
          </a:xfrm>
          <a:prstGeom prst="rect">
            <a:avLst/>
          </a:prstGeom>
          <a:noFill/>
          <a:ln w="127000">
            <a:noFill/>
          </a:ln>
        </p:spPr>
      </p:pic>
      <p:sp>
        <p:nvSpPr>
          <p:cNvPr id="28" name="Text Placeholder 6">
            <a:extLst>
              <a:ext uri="{FF2B5EF4-FFF2-40B4-BE49-F238E27FC236}">
                <a16:creationId xmlns="" xmlns:a16="http://schemas.microsoft.com/office/drawing/2014/main" id="{9A34AD27-ED78-4A89-B5B5-0E7442F5F37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0853400" y="6393180"/>
            <a:ext cx="957600" cy="183514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8" name="Pladsholder til sidefod 4">
            <a:extLst>
              <a:ext uri="{FF2B5EF4-FFF2-40B4-BE49-F238E27FC236}">
                <a16:creationId xmlns="" xmlns:a16="http://schemas.microsoft.com/office/drawing/2014/main" id="{DCFB4EA4-3E05-1343-878F-CCC77D2F02FD}"/>
              </a:ext>
            </a:extLst>
          </p:cNvPr>
          <p:cNvSpPr txBox="1">
            <a:spLocks/>
          </p:cNvSpPr>
          <p:nvPr/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l" defTabSz="914400" rtl="0" eaLnBrk="1" latinLnBrk="0" hangingPunct="1">
              <a:defRPr sz="8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 – Randers Kommune</a:t>
            </a:r>
          </a:p>
        </p:txBody>
      </p:sp>
    </p:spTree>
    <p:extLst>
      <p:ext uri="{BB962C8B-B14F-4D97-AF65-F5344CB8AC3E}">
        <p14:creationId xmlns:p14="http://schemas.microsoft.com/office/powerpoint/2010/main" val="2034712116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="" xmlns:a16="http://schemas.microsoft.com/office/drawing/2014/main" id="{6A897DD5-6C31-445E-8D24-78407782EA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4000"/>
            <a:ext cx="4943401" cy="1015200"/>
          </a:xfrm>
        </p:spPr>
        <p:txBody>
          <a:bodyPr/>
          <a:lstStyle/>
          <a:p>
            <a:r>
              <a:rPr lang="da-DK" dirty="0"/>
              <a:t>Overordnet formål</a:t>
            </a: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="" xmlns:a16="http://schemas.microsoft.com/office/drawing/2014/main" id="{A4E0980B-FB5C-4B08-982E-70D46D4732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978" y="1220400"/>
            <a:ext cx="4625948" cy="3804004"/>
          </a:xfrm>
        </p:spPr>
        <p:txBody>
          <a:bodyPr/>
          <a:lstStyle/>
          <a:p>
            <a:pPr marL="0" indent="0">
              <a:buNone/>
            </a:pPr>
            <a:r>
              <a:rPr lang="da-DK" dirty="0"/>
              <a:t>Forretningsordenen for </a:t>
            </a:r>
            <a:r>
              <a:rPr lang="da-DK" dirty="0" err="1"/>
              <a:t>Norlys</a:t>
            </a:r>
            <a:r>
              <a:rPr lang="da-DK" dirty="0"/>
              <a:t> Vækstpulje fastlægger følgende overordnede formål:</a:t>
            </a:r>
          </a:p>
          <a:p>
            <a:r>
              <a:rPr lang="da-DK" dirty="0"/>
              <a:t>Vækstpuljens overordnede formål er, at øge opbakningen, og fremme andelshavernes bevidsthed om ejerskabet, til </a:t>
            </a:r>
            <a:r>
              <a:rPr lang="da-DK" dirty="0" err="1"/>
              <a:t>Norlys</a:t>
            </a:r>
            <a:r>
              <a:rPr lang="da-DK" dirty="0"/>
              <a:t> a.m.b.a.</a:t>
            </a:r>
          </a:p>
          <a:p>
            <a:r>
              <a:rPr lang="da-DK" dirty="0"/>
              <a:t>Vækstpuljen skal i sit arbejde have fokus på at støtte innovative tiltag samt støtte og engagere fællesskaber og aktiviteter, der bidrager til bæredygtig samfundsudvikling i bred forstand, herunder også med fokus på grøn omstilling og øget digitalisering.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="" xmlns:a16="http://schemas.microsoft.com/office/drawing/2014/main" id="{A6F0CE6D-0078-784B-BD64-9CD9CDFEFA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2588" y="6380955"/>
            <a:ext cx="324000" cy="144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2906F29B-0E9E-4576-AEC9-0657A7532060}" type="slidenum">
              <a:rPr lang="da-DK" smtClean="0">
                <a:solidFill>
                  <a:srgbClr val="F8232D"/>
                </a:solidFill>
              </a:rPr>
              <a:pPr>
                <a:spcAft>
                  <a:spcPts val="600"/>
                </a:spcAft>
              </a:pPr>
              <a:t>25</a:t>
            </a:fld>
            <a:endParaRPr lang="da-DK">
              <a:solidFill>
                <a:srgbClr val="F8232D"/>
              </a:solidFill>
            </a:endParaRPr>
          </a:p>
        </p:txBody>
      </p:sp>
      <p:pic>
        <p:nvPicPr>
          <p:cNvPr id="17" name="Billede 16">
            <a:extLst>
              <a:ext uri="{FF2B5EF4-FFF2-40B4-BE49-F238E27FC236}">
                <a16:creationId xmlns="" xmlns:a16="http://schemas.microsoft.com/office/drawing/2014/main" id="{A21468B7-986A-6B41-8989-4CF4A48D8D77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8121" y="10"/>
            <a:ext cx="6091758" cy="6853228"/>
          </a:xfrm>
          <a:prstGeom prst="rect">
            <a:avLst/>
          </a:prstGeom>
          <a:noFill/>
          <a:ln w="127000">
            <a:noFill/>
          </a:ln>
        </p:spPr>
      </p:pic>
      <p:sp>
        <p:nvSpPr>
          <p:cNvPr id="8" name="Pladsholder til sidefod 4">
            <a:extLst>
              <a:ext uri="{FF2B5EF4-FFF2-40B4-BE49-F238E27FC236}">
                <a16:creationId xmlns="" xmlns:a16="http://schemas.microsoft.com/office/drawing/2014/main" id="{DCFB4EA4-3E05-1343-878F-CCC77D2F02FD}"/>
              </a:ext>
            </a:extLst>
          </p:cNvPr>
          <p:cNvSpPr txBox="1">
            <a:spLocks/>
          </p:cNvSpPr>
          <p:nvPr/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l" defTabSz="914400" rtl="0" eaLnBrk="1" latinLnBrk="0" hangingPunct="1">
              <a:defRPr sz="8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 – Randers Kommune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="" xmlns:a16="http://schemas.microsoft.com/office/drawing/2014/main" id="{6C2AA19E-2255-AE4A-B449-F0CD1169801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3400" y="6393180"/>
            <a:ext cx="957600" cy="183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94666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="" xmlns:a16="http://schemas.microsoft.com/office/drawing/2014/main" id="{6A897DD5-6C31-445E-8D24-78407782EA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4000"/>
            <a:ext cx="4943401" cy="1015200"/>
          </a:xfrm>
        </p:spPr>
        <p:txBody>
          <a:bodyPr/>
          <a:lstStyle/>
          <a:p>
            <a:r>
              <a:rPr lang="da-DK" dirty="0"/>
              <a:t>Formål</a:t>
            </a: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="" xmlns:a16="http://schemas.microsoft.com/office/drawing/2014/main" id="{A4E0980B-FB5C-4B08-982E-70D46D4732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978" y="1220400"/>
            <a:ext cx="4943400" cy="4865768"/>
          </a:xfrm>
        </p:spPr>
        <p:txBody>
          <a:bodyPr/>
          <a:lstStyle/>
          <a:p>
            <a:pPr marL="0" indent="0">
              <a:spcBef>
                <a:spcPts val="700"/>
              </a:spcBef>
              <a:buNone/>
            </a:pPr>
            <a:r>
              <a:rPr lang="da-DK" dirty="0"/>
              <a:t>Forretningsordenen fastlægger desuden, </a:t>
            </a:r>
            <a:br>
              <a:rPr lang="da-DK" dirty="0"/>
            </a:br>
            <a:r>
              <a:rPr lang="da-DK" dirty="0"/>
              <a:t>at det er:</a:t>
            </a:r>
          </a:p>
          <a:p>
            <a:pPr lvl="0">
              <a:lnSpc>
                <a:spcPts val="2000"/>
              </a:lnSpc>
              <a:spcBef>
                <a:spcPts val="700"/>
              </a:spcBef>
            </a:pPr>
            <a:r>
              <a:rPr lang="da-DK" dirty="0"/>
              <a:t>Vækstpuljens formål at bidrage til en bæredygtig udvikling af det samfund, som </a:t>
            </a:r>
            <a:r>
              <a:rPr lang="da-DK" dirty="0" err="1"/>
              <a:t>Norlys</a:t>
            </a:r>
            <a:r>
              <a:rPr lang="da-DK" dirty="0"/>
              <a:t> a.m.b.a. er en del af. Dette formål skal blandt andet søges opnået ved at støtte:</a:t>
            </a:r>
          </a:p>
          <a:p>
            <a:pPr lvl="1">
              <a:lnSpc>
                <a:spcPts val="2000"/>
              </a:lnSpc>
              <a:spcBef>
                <a:spcPts val="700"/>
              </a:spcBef>
            </a:pPr>
            <a:r>
              <a:rPr lang="da-DK" dirty="0"/>
              <a:t>Innovative ideer</a:t>
            </a:r>
          </a:p>
          <a:p>
            <a:pPr lvl="1">
              <a:lnSpc>
                <a:spcPts val="2000"/>
              </a:lnSpc>
              <a:spcBef>
                <a:spcPts val="700"/>
              </a:spcBef>
            </a:pPr>
            <a:r>
              <a:rPr lang="da-DK" dirty="0"/>
              <a:t>Ideer, der skaber nye arbejdspladser</a:t>
            </a:r>
          </a:p>
          <a:p>
            <a:pPr lvl="1">
              <a:lnSpc>
                <a:spcPts val="2000"/>
              </a:lnSpc>
              <a:spcBef>
                <a:spcPts val="700"/>
              </a:spcBef>
            </a:pPr>
            <a:r>
              <a:rPr lang="da-DK" dirty="0"/>
              <a:t>Foreningslivet</a:t>
            </a:r>
          </a:p>
          <a:p>
            <a:pPr lvl="1">
              <a:lnSpc>
                <a:spcPts val="2000"/>
              </a:lnSpc>
              <a:spcBef>
                <a:spcPts val="700"/>
              </a:spcBef>
            </a:pPr>
            <a:r>
              <a:rPr lang="da-DK" dirty="0"/>
              <a:t>Andre former for fællesskaber</a:t>
            </a:r>
          </a:p>
          <a:p>
            <a:pPr lvl="1">
              <a:lnSpc>
                <a:spcPts val="2000"/>
              </a:lnSpc>
              <a:spcBef>
                <a:spcPts val="700"/>
              </a:spcBef>
            </a:pPr>
            <a:r>
              <a:rPr lang="da-DK" dirty="0"/>
              <a:t>Idræts- og kulturlivet</a:t>
            </a:r>
          </a:p>
          <a:p>
            <a:pPr lvl="1">
              <a:lnSpc>
                <a:spcPts val="2000"/>
              </a:lnSpc>
              <a:spcBef>
                <a:spcPts val="700"/>
              </a:spcBef>
            </a:pPr>
            <a:r>
              <a:rPr lang="da-DK" dirty="0"/>
              <a:t>Forsknings- og formidlingsprojekter</a:t>
            </a:r>
          </a:p>
          <a:p>
            <a:pPr lvl="1">
              <a:lnSpc>
                <a:spcPts val="2000"/>
              </a:lnSpc>
              <a:spcBef>
                <a:spcPts val="700"/>
              </a:spcBef>
            </a:pPr>
            <a:r>
              <a:rPr lang="da-DK" dirty="0"/>
              <a:t>Uddannelse</a:t>
            </a:r>
          </a:p>
          <a:p>
            <a:pPr lvl="1">
              <a:lnSpc>
                <a:spcPts val="2000"/>
              </a:lnSpc>
              <a:spcBef>
                <a:spcPts val="700"/>
              </a:spcBef>
            </a:pPr>
            <a:r>
              <a:rPr lang="da-DK" dirty="0"/>
              <a:t>Andre formål, der efter bestyrelsens skøn har tilknytning til formålet – herunder almen velgørende formål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="" xmlns:a16="http://schemas.microsoft.com/office/drawing/2014/main" id="{A6F0CE6D-0078-784B-BD64-9CD9CDFEFA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2588" y="6380955"/>
            <a:ext cx="324000" cy="144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2906F29B-0E9E-4576-AEC9-0657A7532060}" type="slidenum">
              <a:rPr lang="da-DK" smtClean="0">
                <a:solidFill>
                  <a:srgbClr val="F8232D"/>
                </a:solidFill>
              </a:rPr>
              <a:pPr>
                <a:spcAft>
                  <a:spcPts val="600"/>
                </a:spcAft>
              </a:pPr>
              <a:t>26</a:t>
            </a:fld>
            <a:endParaRPr lang="da-DK">
              <a:solidFill>
                <a:srgbClr val="F8232D"/>
              </a:solidFill>
            </a:endParaRPr>
          </a:p>
        </p:txBody>
      </p:sp>
      <p:pic>
        <p:nvPicPr>
          <p:cNvPr id="17" name="Billede 16">
            <a:extLst>
              <a:ext uri="{FF2B5EF4-FFF2-40B4-BE49-F238E27FC236}">
                <a16:creationId xmlns="" xmlns:a16="http://schemas.microsoft.com/office/drawing/2014/main" id="{A21468B7-986A-6B41-8989-4CF4A48D8D77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8121" y="10"/>
            <a:ext cx="6091758" cy="6853227"/>
          </a:xfrm>
          <a:prstGeom prst="rect">
            <a:avLst/>
          </a:prstGeom>
          <a:noFill/>
          <a:ln w="127000">
            <a:noFill/>
          </a:ln>
        </p:spPr>
      </p:pic>
      <p:sp>
        <p:nvSpPr>
          <p:cNvPr id="8" name="Pladsholder til sidefod 4">
            <a:extLst>
              <a:ext uri="{FF2B5EF4-FFF2-40B4-BE49-F238E27FC236}">
                <a16:creationId xmlns="" xmlns:a16="http://schemas.microsoft.com/office/drawing/2014/main" id="{DCFB4EA4-3E05-1343-878F-CCC77D2F02FD}"/>
              </a:ext>
            </a:extLst>
          </p:cNvPr>
          <p:cNvSpPr txBox="1">
            <a:spLocks/>
          </p:cNvSpPr>
          <p:nvPr/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l" defTabSz="914400" rtl="0" eaLnBrk="1" latinLnBrk="0" hangingPunct="1">
              <a:defRPr sz="8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 – Randers Kommune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="" xmlns:a16="http://schemas.microsoft.com/office/drawing/2014/main" id="{6C2AA19E-2255-AE4A-B449-F0CD1169801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3400" y="6393180"/>
            <a:ext cx="957600" cy="183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485975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="" xmlns:a16="http://schemas.microsoft.com/office/drawing/2014/main" id="{6A897DD5-6C31-445E-8D24-78407782EA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4000"/>
            <a:ext cx="4943401" cy="1015200"/>
          </a:xfrm>
        </p:spPr>
        <p:txBody>
          <a:bodyPr/>
          <a:lstStyle/>
          <a:p>
            <a:r>
              <a:rPr lang="da-DK" dirty="0"/>
              <a:t>Formål</a:t>
            </a: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="" xmlns:a16="http://schemas.microsoft.com/office/drawing/2014/main" id="{A4E0980B-FB5C-4B08-982E-70D46D4732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978" y="1220400"/>
            <a:ext cx="5048887" cy="4865768"/>
          </a:xfrm>
        </p:spPr>
        <p:txBody>
          <a:bodyPr/>
          <a:lstStyle/>
          <a:p>
            <a:pPr marL="0" indent="0">
              <a:spcBef>
                <a:spcPts val="700"/>
              </a:spcBef>
              <a:buNone/>
            </a:pPr>
            <a:r>
              <a:rPr lang="da-DK" dirty="0"/>
              <a:t>Forretningsordenen fastlægger, at følgende </a:t>
            </a:r>
            <a:br>
              <a:rPr lang="da-DK" dirty="0"/>
            </a:br>
            <a:r>
              <a:rPr lang="da-DK" b="1" dirty="0"/>
              <a:t>ikke</a:t>
            </a:r>
            <a:r>
              <a:rPr lang="da-DK" dirty="0"/>
              <a:t> kan støttes:</a:t>
            </a:r>
          </a:p>
          <a:p>
            <a:pPr lvl="0">
              <a:lnSpc>
                <a:spcPts val="2000"/>
              </a:lnSpc>
              <a:spcBef>
                <a:spcPts val="700"/>
              </a:spcBef>
            </a:pPr>
            <a:r>
              <a:rPr lang="da-DK" dirty="0"/>
              <a:t>Politiske eller religiøse formål</a:t>
            </a:r>
          </a:p>
          <a:p>
            <a:pPr lvl="0">
              <a:lnSpc>
                <a:spcPts val="2000"/>
              </a:lnSpc>
              <a:spcBef>
                <a:spcPts val="700"/>
              </a:spcBef>
            </a:pPr>
            <a:r>
              <a:rPr lang="da-DK" dirty="0"/>
              <a:t>Formål, hvis etik er tvivlsom, eller som på anden vis kan kaste et uheldigt lys over </a:t>
            </a:r>
            <a:r>
              <a:rPr lang="da-DK" dirty="0" err="1"/>
              <a:t>Norlys</a:t>
            </a:r>
            <a:endParaRPr lang="da-DK" dirty="0"/>
          </a:p>
          <a:p>
            <a:pPr lvl="0">
              <a:lnSpc>
                <a:spcPts val="2000"/>
              </a:lnSpc>
              <a:spcBef>
                <a:spcPts val="700"/>
              </a:spcBef>
            </a:pPr>
            <a:r>
              <a:rPr lang="da-DK" dirty="0"/>
              <a:t>Formål, der kan forveksles med kommercielt betingede sponsorater (idet sådanne sponsorater varetages af Norlys’ ledelse)</a:t>
            </a:r>
          </a:p>
          <a:p>
            <a:pPr lvl="0">
              <a:lnSpc>
                <a:spcPts val="2000"/>
              </a:lnSpc>
              <a:spcBef>
                <a:spcPts val="700"/>
              </a:spcBef>
            </a:pPr>
            <a:r>
              <a:rPr lang="da-DK" dirty="0"/>
              <a:t>Køb af, og rabatter på, Norlys’ produkter og priser – idet sådan </a:t>
            </a:r>
            <a:r>
              <a:rPr lang="da-DK" dirty="0" err="1"/>
              <a:t>rabatgivning</a:t>
            </a:r>
            <a:r>
              <a:rPr lang="da-DK" dirty="0"/>
              <a:t> alene er et forretningsmæssigt ansvar for Norlys’ bestyrelse og ledelse</a:t>
            </a:r>
          </a:p>
          <a:p>
            <a:pPr lvl="0">
              <a:lnSpc>
                <a:spcPts val="2000"/>
              </a:lnSpc>
              <a:spcBef>
                <a:spcPts val="700"/>
              </a:spcBef>
            </a:pPr>
            <a:r>
              <a:rPr lang="da-DK" dirty="0"/>
              <a:t>Formål, der indebærer, at </a:t>
            </a:r>
            <a:r>
              <a:rPr lang="da-DK" dirty="0" err="1"/>
              <a:t>Norlys</a:t>
            </a:r>
            <a:r>
              <a:rPr lang="da-DK" dirty="0"/>
              <a:t> får medejerskab eller ledelseskompetence i den støttede virksomhed</a:t>
            </a:r>
          </a:p>
          <a:p>
            <a:pPr lvl="0">
              <a:lnSpc>
                <a:spcPts val="2000"/>
              </a:lnSpc>
              <a:spcBef>
                <a:spcPts val="700"/>
              </a:spcBef>
            </a:pPr>
            <a:r>
              <a:rPr lang="da-DK" dirty="0"/>
              <a:t>Formål, der strider mod vækstpuljens overordnede formål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="" xmlns:a16="http://schemas.microsoft.com/office/drawing/2014/main" id="{A6F0CE6D-0078-784B-BD64-9CD9CDFEFA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2588" y="6380955"/>
            <a:ext cx="324000" cy="144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2906F29B-0E9E-4576-AEC9-0657A7532060}" type="slidenum">
              <a:rPr lang="da-DK" smtClean="0">
                <a:solidFill>
                  <a:srgbClr val="F8232D"/>
                </a:solidFill>
              </a:rPr>
              <a:pPr>
                <a:spcAft>
                  <a:spcPts val="600"/>
                </a:spcAft>
              </a:pPr>
              <a:t>27</a:t>
            </a:fld>
            <a:endParaRPr lang="da-DK">
              <a:solidFill>
                <a:srgbClr val="F8232D"/>
              </a:solidFill>
            </a:endParaRPr>
          </a:p>
        </p:txBody>
      </p:sp>
      <p:pic>
        <p:nvPicPr>
          <p:cNvPr id="17" name="Billede 16">
            <a:extLst>
              <a:ext uri="{FF2B5EF4-FFF2-40B4-BE49-F238E27FC236}">
                <a16:creationId xmlns="" xmlns:a16="http://schemas.microsoft.com/office/drawing/2014/main" id="{A21468B7-986A-6B41-8989-4CF4A48D8D77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8121" y="10"/>
            <a:ext cx="6091757" cy="6853227"/>
          </a:xfrm>
          <a:prstGeom prst="rect">
            <a:avLst/>
          </a:prstGeom>
          <a:noFill/>
          <a:ln w="127000">
            <a:noFill/>
          </a:ln>
        </p:spPr>
      </p:pic>
      <p:sp>
        <p:nvSpPr>
          <p:cNvPr id="8" name="Pladsholder til sidefod 4">
            <a:extLst>
              <a:ext uri="{FF2B5EF4-FFF2-40B4-BE49-F238E27FC236}">
                <a16:creationId xmlns="" xmlns:a16="http://schemas.microsoft.com/office/drawing/2014/main" id="{DCFB4EA4-3E05-1343-878F-CCC77D2F02FD}"/>
              </a:ext>
            </a:extLst>
          </p:cNvPr>
          <p:cNvSpPr txBox="1">
            <a:spLocks/>
          </p:cNvSpPr>
          <p:nvPr/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l" defTabSz="914400" rtl="0" eaLnBrk="1" latinLnBrk="0" hangingPunct="1">
              <a:defRPr sz="8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 – Randers Kommune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="" xmlns:a16="http://schemas.microsoft.com/office/drawing/2014/main" id="{6C2AA19E-2255-AE4A-B449-F0CD1169801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3400" y="6393180"/>
            <a:ext cx="957600" cy="183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773037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="" xmlns:a16="http://schemas.microsoft.com/office/drawing/2014/main" id="{6A897DD5-6C31-445E-8D24-78407782EA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4000"/>
            <a:ext cx="4943401" cy="1015200"/>
          </a:xfrm>
        </p:spPr>
        <p:txBody>
          <a:bodyPr/>
          <a:lstStyle/>
          <a:p>
            <a:r>
              <a:rPr lang="da-DK" dirty="0"/>
              <a:t>Sådan gør du …</a:t>
            </a: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="" xmlns:a16="http://schemas.microsoft.com/office/drawing/2014/main" id="{A4E0980B-FB5C-4B08-982E-70D46D4732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978" y="1220400"/>
            <a:ext cx="5048887" cy="4865768"/>
          </a:xfrm>
        </p:spPr>
        <p:txBody>
          <a:bodyPr/>
          <a:lstStyle/>
          <a:p>
            <a:pPr lvl="0">
              <a:lnSpc>
                <a:spcPts val="2000"/>
              </a:lnSpc>
            </a:pPr>
            <a:r>
              <a:rPr lang="da-DK" dirty="0"/>
              <a:t>Gå ind på </a:t>
            </a:r>
            <a:r>
              <a:rPr lang="da-DK" dirty="0" err="1"/>
              <a:t>norlys.dk</a:t>
            </a:r>
            <a:r>
              <a:rPr lang="da-DK" dirty="0"/>
              <a:t> her: </a:t>
            </a:r>
            <a:br>
              <a:rPr lang="da-DK" dirty="0"/>
            </a:br>
            <a:r>
              <a:rPr lang="da-DK" dirty="0" err="1">
                <a:solidFill>
                  <a:schemeClr val="accent1"/>
                </a:solidFill>
              </a:rPr>
              <a:t>www.norlys.dk</a:t>
            </a:r>
            <a:r>
              <a:rPr lang="da-DK" dirty="0">
                <a:solidFill>
                  <a:schemeClr val="accent1"/>
                </a:solidFill>
              </a:rPr>
              <a:t>/om-</a:t>
            </a:r>
            <a:r>
              <a:rPr lang="da-DK" dirty="0" err="1">
                <a:solidFill>
                  <a:schemeClr val="accent1"/>
                </a:solidFill>
              </a:rPr>
              <a:t>norlys</a:t>
            </a:r>
            <a:r>
              <a:rPr lang="da-DK" dirty="0">
                <a:solidFill>
                  <a:schemeClr val="accent1"/>
                </a:solidFill>
              </a:rPr>
              <a:t>/</a:t>
            </a:r>
            <a:r>
              <a:rPr lang="da-DK" dirty="0" err="1">
                <a:solidFill>
                  <a:schemeClr val="accent1"/>
                </a:solidFill>
              </a:rPr>
              <a:t>vaekstpulje</a:t>
            </a:r>
            <a:r>
              <a:rPr lang="da-DK" dirty="0">
                <a:solidFill>
                  <a:schemeClr val="accent1"/>
                </a:solidFill>
              </a:rPr>
              <a:t> </a:t>
            </a:r>
          </a:p>
          <a:p>
            <a:pPr lvl="0">
              <a:lnSpc>
                <a:spcPts val="2000"/>
              </a:lnSpc>
            </a:pPr>
            <a:r>
              <a:rPr lang="da-DK" dirty="0"/>
              <a:t>Sørg for at have alle relevante bilag klar inden du går ind på ansøgningsmodulet – afhængig af projektets karakter kan det være budget, tilbud, tegning, finansieringsplan, tilladelse, vedtægter, regnskab …</a:t>
            </a:r>
          </a:p>
          <a:p>
            <a:pPr lvl="0">
              <a:lnSpc>
                <a:spcPts val="2000"/>
              </a:lnSpc>
            </a:pPr>
            <a:r>
              <a:rPr lang="da-DK" dirty="0"/>
              <a:t>Udfyld det digitale ansøgningsmodul</a:t>
            </a:r>
          </a:p>
          <a:p>
            <a:pPr lvl="0">
              <a:lnSpc>
                <a:spcPts val="2000"/>
              </a:lnSpc>
            </a:pPr>
            <a:r>
              <a:rPr lang="da-DK" dirty="0"/>
              <a:t>Projektets postnummer sikrer, at ansøgningen behandles af den rigtige af de i alt 4 vækstpuljebestyrelser</a:t>
            </a:r>
          </a:p>
          <a:p>
            <a:pPr lvl="0">
              <a:lnSpc>
                <a:spcPts val="2000"/>
              </a:lnSpc>
            </a:pPr>
            <a:r>
              <a:rPr lang="da-DK" dirty="0"/>
              <a:t>Kontaktpersoner, der kan hjælpe med eventuelle spørgsmål, fremgår af siden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="" xmlns:a16="http://schemas.microsoft.com/office/drawing/2014/main" id="{A6F0CE6D-0078-784B-BD64-9CD9CDFEFA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2588" y="6380955"/>
            <a:ext cx="324000" cy="144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2906F29B-0E9E-4576-AEC9-0657A7532060}" type="slidenum">
              <a:rPr lang="da-DK" smtClean="0">
                <a:solidFill>
                  <a:srgbClr val="F8232D"/>
                </a:solidFill>
              </a:rPr>
              <a:pPr>
                <a:spcAft>
                  <a:spcPts val="600"/>
                </a:spcAft>
              </a:pPr>
              <a:t>28</a:t>
            </a:fld>
            <a:endParaRPr lang="da-DK">
              <a:solidFill>
                <a:srgbClr val="F8232D"/>
              </a:solidFill>
            </a:endParaRPr>
          </a:p>
        </p:txBody>
      </p:sp>
      <p:pic>
        <p:nvPicPr>
          <p:cNvPr id="17" name="Billede 16">
            <a:extLst>
              <a:ext uri="{FF2B5EF4-FFF2-40B4-BE49-F238E27FC236}">
                <a16:creationId xmlns="" xmlns:a16="http://schemas.microsoft.com/office/drawing/2014/main" id="{A21468B7-986A-6B41-8989-4CF4A48D8D77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8121" y="10"/>
            <a:ext cx="6091757" cy="6853226"/>
          </a:xfrm>
          <a:prstGeom prst="rect">
            <a:avLst/>
          </a:prstGeom>
          <a:noFill/>
          <a:ln w="127000">
            <a:noFill/>
          </a:ln>
        </p:spPr>
      </p:pic>
      <p:sp>
        <p:nvSpPr>
          <p:cNvPr id="8" name="Pladsholder til sidefod 4">
            <a:extLst>
              <a:ext uri="{FF2B5EF4-FFF2-40B4-BE49-F238E27FC236}">
                <a16:creationId xmlns="" xmlns:a16="http://schemas.microsoft.com/office/drawing/2014/main" id="{DCFB4EA4-3E05-1343-878F-CCC77D2F02FD}"/>
              </a:ext>
            </a:extLst>
          </p:cNvPr>
          <p:cNvSpPr txBox="1">
            <a:spLocks/>
          </p:cNvSpPr>
          <p:nvPr/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l" defTabSz="914400" rtl="0" eaLnBrk="1" latinLnBrk="0" hangingPunct="1">
              <a:defRPr sz="8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 – Randers Kommune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="" xmlns:a16="http://schemas.microsoft.com/office/drawing/2014/main" id="{6C2AA19E-2255-AE4A-B449-F0CD1169801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3400" y="6393180"/>
            <a:ext cx="957600" cy="183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24924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="" xmlns:a16="http://schemas.microsoft.com/office/drawing/2014/main" id="{6A897DD5-6C31-445E-8D24-78407782EA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4000"/>
            <a:ext cx="4943401" cy="1015200"/>
          </a:xfrm>
        </p:spPr>
        <p:txBody>
          <a:bodyPr/>
          <a:lstStyle/>
          <a:p>
            <a:r>
              <a:rPr lang="da-DK" dirty="0"/>
              <a:t>Særligt for Randers</a:t>
            </a: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="" xmlns:a16="http://schemas.microsoft.com/office/drawing/2014/main" id="{A4E0980B-FB5C-4B08-982E-70D46D4732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978" y="1220400"/>
            <a:ext cx="5078383" cy="4865768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500"/>
              </a:spcBef>
            </a:pPr>
            <a:r>
              <a:rPr lang="da-DK" dirty="0"/>
              <a:t>Energiselskabet Eniig købte i 2019 </a:t>
            </a:r>
            <a:r>
              <a:rPr lang="da-DK" dirty="0" err="1"/>
              <a:t>energi-selskabet</a:t>
            </a:r>
            <a:r>
              <a:rPr lang="da-DK" dirty="0"/>
              <a:t> </a:t>
            </a:r>
            <a:r>
              <a:rPr lang="da-DK" dirty="0" err="1"/>
              <a:t>Verdos</a:t>
            </a:r>
            <a:r>
              <a:rPr lang="da-DK" dirty="0"/>
              <a:t> el-net i Randers og Hobro</a:t>
            </a:r>
          </a:p>
          <a:p>
            <a:pPr marL="0" lvl="0" indent="0">
              <a:lnSpc>
                <a:spcPct val="100000"/>
              </a:lnSpc>
              <a:spcBef>
                <a:spcPts val="500"/>
              </a:spcBef>
              <a:buNone/>
            </a:pPr>
            <a:endParaRPr lang="da-DK" dirty="0"/>
          </a:p>
          <a:p>
            <a:pPr lvl="0">
              <a:lnSpc>
                <a:spcPct val="100000"/>
              </a:lnSpc>
              <a:spcBef>
                <a:spcPts val="500"/>
              </a:spcBef>
            </a:pPr>
            <a:r>
              <a:rPr lang="da-DK" dirty="0"/>
              <a:t>Handlen indebar, at borgere og virksomheder i Randers og Hobro indtil videre ikke er andelshavere i Norlys (fusionen af Eniig og SE)</a:t>
            </a:r>
          </a:p>
          <a:p>
            <a:pPr marL="0" lvl="0" indent="0">
              <a:lnSpc>
                <a:spcPct val="100000"/>
              </a:lnSpc>
              <a:spcBef>
                <a:spcPts val="500"/>
              </a:spcBef>
              <a:buNone/>
            </a:pPr>
            <a:endParaRPr lang="da-DK" dirty="0"/>
          </a:p>
          <a:p>
            <a:pPr lvl="0">
              <a:lnSpc>
                <a:spcPct val="100000"/>
              </a:lnSpc>
              <a:spcBef>
                <a:spcPts val="500"/>
              </a:spcBef>
            </a:pPr>
            <a:r>
              <a:rPr lang="da-DK" dirty="0"/>
              <a:t>Det betyder, at der som udgangspunkt ikke bevilges støtte fra Norlys Vækstpulje i </a:t>
            </a:r>
            <a:r>
              <a:rPr lang="da-DK" dirty="0" err="1"/>
              <a:t>Verdos</a:t>
            </a:r>
            <a:r>
              <a:rPr lang="da-DK" dirty="0"/>
              <a:t> tidligere ejergeografi</a:t>
            </a:r>
          </a:p>
          <a:p>
            <a:pPr marL="0" lvl="0" indent="0">
              <a:lnSpc>
                <a:spcPct val="100000"/>
              </a:lnSpc>
              <a:spcBef>
                <a:spcPts val="500"/>
              </a:spcBef>
              <a:buNone/>
            </a:pPr>
            <a:endParaRPr lang="da-DK" dirty="0"/>
          </a:p>
          <a:p>
            <a:pPr>
              <a:lnSpc>
                <a:spcPct val="100000"/>
              </a:lnSpc>
              <a:spcBef>
                <a:spcPts val="500"/>
              </a:spcBef>
            </a:pPr>
            <a:r>
              <a:rPr lang="da-DK" dirty="0"/>
              <a:t>Der kan dog også søges om støtte til projekter udenfor </a:t>
            </a:r>
            <a:r>
              <a:rPr lang="da-DK" dirty="0" err="1"/>
              <a:t>Norlys´</a:t>
            </a:r>
            <a:r>
              <a:rPr lang="da-DK" dirty="0"/>
              <a:t> ejergeografi – her er kriterierne for at komme i betragtning, at  projektet har potentiale til at skabe nye arbejdspladser og/eller er tilstrækkeligt innovativt til at have potentiale til at gøre en markant samfundsmæssig forskel i forhold til grøn omstilling og/eller øget digitalisering.</a:t>
            </a:r>
          </a:p>
          <a:p>
            <a:pPr lvl="0">
              <a:lnSpc>
                <a:spcPct val="100000"/>
              </a:lnSpc>
              <a:spcBef>
                <a:spcPts val="500"/>
              </a:spcBef>
            </a:pPr>
            <a:endParaRPr lang="da-DK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="" xmlns:a16="http://schemas.microsoft.com/office/drawing/2014/main" id="{A6F0CE6D-0078-784B-BD64-9CD9CDFEFA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2588" y="6380955"/>
            <a:ext cx="324000" cy="144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2906F29B-0E9E-4576-AEC9-0657A7532060}" type="slidenum">
              <a:rPr lang="da-DK" smtClean="0">
                <a:solidFill>
                  <a:srgbClr val="F8232D"/>
                </a:solidFill>
              </a:rPr>
              <a:pPr>
                <a:spcAft>
                  <a:spcPts val="600"/>
                </a:spcAft>
              </a:pPr>
              <a:t>29</a:t>
            </a:fld>
            <a:endParaRPr lang="da-DK">
              <a:solidFill>
                <a:srgbClr val="F8232D"/>
              </a:solidFill>
            </a:endParaRPr>
          </a:p>
        </p:txBody>
      </p:sp>
      <p:pic>
        <p:nvPicPr>
          <p:cNvPr id="17" name="Billede 16">
            <a:extLst>
              <a:ext uri="{FF2B5EF4-FFF2-40B4-BE49-F238E27FC236}">
                <a16:creationId xmlns="" xmlns:a16="http://schemas.microsoft.com/office/drawing/2014/main" id="{A21468B7-986A-6B41-8989-4CF4A48D8D77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8121" y="10"/>
            <a:ext cx="6091756" cy="6853226"/>
          </a:xfrm>
          <a:prstGeom prst="rect">
            <a:avLst/>
          </a:prstGeom>
          <a:noFill/>
          <a:ln w="127000">
            <a:noFill/>
          </a:ln>
        </p:spPr>
      </p:pic>
      <p:sp>
        <p:nvSpPr>
          <p:cNvPr id="8" name="Pladsholder til sidefod 4">
            <a:extLst>
              <a:ext uri="{FF2B5EF4-FFF2-40B4-BE49-F238E27FC236}">
                <a16:creationId xmlns="" xmlns:a16="http://schemas.microsoft.com/office/drawing/2014/main" id="{DCFB4EA4-3E05-1343-878F-CCC77D2F02FD}"/>
              </a:ext>
            </a:extLst>
          </p:cNvPr>
          <p:cNvSpPr txBox="1">
            <a:spLocks/>
          </p:cNvSpPr>
          <p:nvPr/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l" defTabSz="914400" rtl="0" eaLnBrk="1" latinLnBrk="0" hangingPunct="1">
              <a:defRPr sz="8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 – Randers Kommune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="" xmlns:a16="http://schemas.microsoft.com/office/drawing/2014/main" id="{6C2AA19E-2255-AE4A-B449-F0CD1169801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3400" y="6393180"/>
            <a:ext cx="957600" cy="183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4779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 smtClean="0"/>
              <a:t>Program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678206"/>
          </a:xfrm>
        </p:spPr>
        <p:txBody>
          <a:bodyPr>
            <a:normAutofit/>
          </a:bodyPr>
          <a:lstStyle/>
          <a:p>
            <a:pPr marL="0" indent="0" fontAlgn="base">
              <a:buNone/>
            </a:pPr>
            <a:r>
              <a:rPr lang="da-DK" dirty="0"/>
              <a:t>17.00-17.10 Velkomst v. udviklingskonsulenter fra Randers Kommune: Kultur og Fritid, Landdistriktsudvikling samt LAG Randers-Favrskov.</a:t>
            </a:r>
          </a:p>
          <a:p>
            <a:pPr marL="0" indent="0" fontAlgn="base">
              <a:buNone/>
            </a:pPr>
            <a:r>
              <a:rPr lang="da-DK" dirty="0" smtClean="0"/>
              <a:t>17.10-17.30 </a:t>
            </a:r>
            <a:r>
              <a:rPr lang="da-DK" dirty="0"/>
              <a:t>LAG og Landsbypuljen</a:t>
            </a:r>
          </a:p>
          <a:p>
            <a:pPr marL="0" indent="0" fontAlgn="base">
              <a:buNone/>
            </a:pPr>
            <a:r>
              <a:rPr lang="da-DK" dirty="0"/>
              <a:t>17.30-18.00 ELRO fonden og Vækstpuljen </a:t>
            </a:r>
            <a:r>
              <a:rPr lang="da-DK" dirty="0" err="1"/>
              <a:t>Norlys</a:t>
            </a:r>
            <a:endParaRPr lang="da-DK" dirty="0"/>
          </a:p>
          <a:p>
            <a:pPr marL="0" indent="0" fontAlgn="base">
              <a:buNone/>
            </a:pPr>
            <a:r>
              <a:rPr lang="da-DK" dirty="0"/>
              <a:t>18.00-18.15 Pause</a:t>
            </a:r>
          </a:p>
          <a:p>
            <a:pPr marL="0" indent="0" fontAlgn="base">
              <a:buNone/>
            </a:pPr>
            <a:r>
              <a:rPr lang="da-DK" dirty="0"/>
              <a:t>18.15-19.15 Introduktion til </a:t>
            </a:r>
            <a:r>
              <a:rPr lang="da-DK" dirty="0" smtClean="0"/>
              <a:t>fundraising og værktøjet</a:t>
            </a:r>
            <a:r>
              <a:rPr lang="da-DK" dirty="0"/>
              <a:t>: "fonde.dk" v. Rasmus Munch. </a:t>
            </a:r>
            <a:endParaRPr lang="da-DK" dirty="0" smtClean="0"/>
          </a:p>
          <a:p>
            <a:pPr marL="0" indent="0" fontAlgn="base">
              <a:buNone/>
            </a:pPr>
            <a:r>
              <a:rPr lang="da-DK" dirty="0" smtClean="0"/>
              <a:t>19.15-19.45 </a:t>
            </a:r>
            <a:r>
              <a:rPr lang="da-DK" dirty="0"/>
              <a:t>Spørgetime: Tilstede er udviklingskonsulenter fra Randers Kommune, </a:t>
            </a:r>
            <a:r>
              <a:rPr lang="da-DK" dirty="0" smtClean="0"/>
              <a:t>repræsentanterne </a:t>
            </a:r>
            <a:r>
              <a:rPr lang="da-DK" dirty="0"/>
              <a:t>fra de lokale fonde, samt Rasmus fra fonde.dk.</a:t>
            </a:r>
          </a:p>
        </p:txBody>
      </p:sp>
    </p:spTree>
    <p:extLst>
      <p:ext uri="{BB962C8B-B14F-4D97-AF65-F5344CB8AC3E}">
        <p14:creationId xmlns:p14="http://schemas.microsoft.com/office/powerpoint/2010/main" val="413247621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itle 1">
            <a:extLst>
              <a:ext uri="{FF2B5EF4-FFF2-40B4-BE49-F238E27FC236}">
                <a16:creationId xmlns="" xmlns:a16="http://schemas.microsoft.com/office/drawing/2014/main" id="{6A897DD5-6C31-445E-8D24-78407782EA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1977" y="594000"/>
            <a:ext cx="4943401" cy="1015200"/>
          </a:xfrm>
        </p:spPr>
        <p:txBody>
          <a:bodyPr/>
          <a:lstStyle/>
          <a:p>
            <a:r>
              <a:rPr lang="da-DK" dirty="0"/>
              <a:t>Særligt for Randers</a:t>
            </a:r>
            <a:endParaRPr lang="en-US" dirty="0"/>
          </a:p>
        </p:txBody>
      </p:sp>
      <p:sp>
        <p:nvSpPr>
          <p:cNvPr id="24" name="Text Placeholder 2">
            <a:extLst>
              <a:ext uri="{FF2B5EF4-FFF2-40B4-BE49-F238E27FC236}">
                <a16:creationId xmlns="" xmlns:a16="http://schemas.microsoft.com/office/drawing/2014/main" id="{A4E0980B-FB5C-4B08-982E-70D46D47321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61978" y="1220400"/>
            <a:ext cx="5078383" cy="4865768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500"/>
              </a:spcBef>
            </a:pPr>
            <a:r>
              <a:rPr lang="da-DK" dirty="0"/>
              <a:t>På www.norlys.dk/om-norlys/vaekstpulje ligger et værktøj, der kan fortælle, om et projekt/en ansøgning er placeret indenfor eller udenfor </a:t>
            </a:r>
            <a:r>
              <a:rPr lang="da-DK" dirty="0" err="1"/>
              <a:t>Norlys’</a:t>
            </a:r>
            <a:r>
              <a:rPr lang="da-DK" dirty="0"/>
              <a:t> ejergeografi</a:t>
            </a:r>
          </a:p>
          <a:p>
            <a:pPr marL="0" lvl="0" indent="0">
              <a:lnSpc>
                <a:spcPct val="100000"/>
              </a:lnSpc>
              <a:spcBef>
                <a:spcPts val="500"/>
              </a:spcBef>
              <a:buNone/>
            </a:pPr>
            <a:endParaRPr lang="da-DK" dirty="0"/>
          </a:p>
          <a:p>
            <a:pPr lvl="0">
              <a:lnSpc>
                <a:spcPct val="100000"/>
              </a:lnSpc>
              <a:spcBef>
                <a:spcPts val="500"/>
              </a:spcBef>
            </a:pPr>
            <a:r>
              <a:rPr lang="da-DK" dirty="0"/>
              <a:t>Hvis værktøjet fortæller, at projektet er placeret, hvor </a:t>
            </a:r>
            <a:r>
              <a:rPr lang="da-DK" dirty="0" err="1"/>
              <a:t>netselskabet</a:t>
            </a:r>
            <a:r>
              <a:rPr lang="da-DK" dirty="0"/>
              <a:t> ”N1 Randers” leverer strøm, så ligger projektet i </a:t>
            </a:r>
            <a:r>
              <a:rPr lang="da-DK" dirty="0" err="1"/>
              <a:t>Verdos</a:t>
            </a:r>
            <a:r>
              <a:rPr lang="da-DK" dirty="0"/>
              <a:t> tidligere ejergeografi</a:t>
            </a:r>
          </a:p>
          <a:p>
            <a:pPr lvl="0">
              <a:lnSpc>
                <a:spcPct val="100000"/>
              </a:lnSpc>
              <a:spcBef>
                <a:spcPts val="500"/>
              </a:spcBef>
            </a:pPr>
            <a:endParaRPr lang="da-DK" dirty="0"/>
          </a:p>
          <a:p>
            <a:pPr>
              <a:lnSpc>
                <a:spcPct val="100000"/>
              </a:lnSpc>
              <a:spcBef>
                <a:spcPts val="500"/>
              </a:spcBef>
            </a:pPr>
            <a:r>
              <a:rPr lang="da-DK" dirty="0"/>
              <a:t>Hvis værktøjet fortæller, at projektet er placeret, hvor </a:t>
            </a:r>
            <a:r>
              <a:rPr lang="da-DK" dirty="0" err="1"/>
              <a:t>netselskabet</a:t>
            </a:r>
            <a:r>
              <a:rPr lang="da-DK" dirty="0"/>
              <a:t> ”N1” leverer strøm, så ligger projektet i </a:t>
            </a:r>
            <a:r>
              <a:rPr lang="da-DK" dirty="0" err="1"/>
              <a:t>Norlys’</a:t>
            </a:r>
            <a:r>
              <a:rPr lang="da-DK" dirty="0"/>
              <a:t> ejergeografi</a:t>
            </a:r>
          </a:p>
          <a:p>
            <a:pPr lvl="0">
              <a:lnSpc>
                <a:spcPct val="100000"/>
              </a:lnSpc>
              <a:spcBef>
                <a:spcPts val="500"/>
              </a:spcBef>
            </a:pPr>
            <a:endParaRPr lang="da-DK" dirty="0"/>
          </a:p>
          <a:p>
            <a:pPr lvl="0">
              <a:lnSpc>
                <a:spcPct val="100000"/>
              </a:lnSpc>
              <a:spcBef>
                <a:spcPts val="500"/>
              </a:spcBef>
            </a:pPr>
            <a:r>
              <a:rPr lang="da-DK" dirty="0"/>
              <a:t>En stor del af Randers Kommune er en del af </a:t>
            </a:r>
            <a:r>
              <a:rPr lang="da-DK" dirty="0" err="1"/>
              <a:t>Norlys´</a:t>
            </a:r>
            <a:r>
              <a:rPr lang="da-DK" dirty="0"/>
              <a:t> ejergeografi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="" xmlns:a16="http://schemas.microsoft.com/office/drawing/2014/main" id="{A6F0CE6D-0078-784B-BD64-9CD9CDFEFA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82588" y="6380955"/>
            <a:ext cx="324000" cy="144000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fld id="{2906F29B-0E9E-4576-AEC9-0657A7532060}" type="slidenum">
              <a:rPr lang="da-DK" smtClean="0">
                <a:solidFill>
                  <a:srgbClr val="F8232D"/>
                </a:solidFill>
              </a:rPr>
              <a:pPr>
                <a:spcAft>
                  <a:spcPts val="600"/>
                </a:spcAft>
              </a:pPr>
              <a:t>30</a:t>
            </a:fld>
            <a:endParaRPr lang="da-DK">
              <a:solidFill>
                <a:srgbClr val="F8232D"/>
              </a:solidFill>
            </a:endParaRPr>
          </a:p>
        </p:txBody>
      </p:sp>
      <p:pic>
        <p:nvPicPr>
          <p:cNvPr id="17" name="Billede 16">
            <a:extLst>
              <a:ext uri="{FF2B5EF4-FFF2-40B4-BE49-F238E27FC236}">
                <a16:creationId xmlns="" xmlns:a16="http://schemas.microsoft.com/office/drawing/2014/main" id="{A21468B7-986A-6B41-8989-4CF4A48D8D77}"/>
              </a:ext>
            </a:extLst>
          </p:cNvPr>
          <p:cNvPicPr preferRelativeResize="0"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8121" y="10"/>
            <a:ext cx="6091756" cy="6853226"/>
          </a:xfrm>
          <a:prstGeom prst="rect">
            <a:avLst/>
          </a:prstGeom>
          <a:noFill/>
          <a:ln w="127000">
            <a:noFill/>
          </a:ln>
        </p:spPr>
      </p:pic>
      <p:sp>
        <p:nvSpPr>
          <p:cNvPr id="8" name="Pladsholder til sidefod 4">
            <a:extLst>
              <a:ext uri="{FF2B5EF4-FFF2-40B4-BE49-F238E27FC236}">
                <a16:creationId xmlns="" xmlns:a16="http://schemas.microsoft.com/office/drawing/2014/main" id="{DCFB4EA4-3E05-1343-878F-CCC77D2F02FD}"/>
              </a:ext>
            </a:extLst>
          </p:cNvPr>
          <p:cNvSpPr txBox="1">
            <a:spLocks/>
          </p:cNvSpPr>
          <p:nvPr/>
        </p:nvSpPr>
        <p:spPr>
          <a:xfrm>
            <a:off x="763563" y="6380955"/>
            <a:ext cx="41148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da-DK"/>
            </a:defPPr>
            <a:lvl1pPr marL="0" algn="l" defTabSz="914400" rtl="0" eaLnBrk="1" latinLnBrk="0" hangingPunct="1">
              <a:defRPr sz="800" kern="1200" cap="all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 err="1">
                <a:solidFill>
                  <a:prstClr val="black"/>
                </a:solidFill>
              </a:rPr>
              <a:t>Norlys</a:t>
            </a:r>
            <a:r>
              <a:rPr lang="da-DK" dirty="0">
                <a:solidFill>
                  <a:prstClr val="black"/>
                </a:solidFill>
              </a:rPr>
              <a:t> Vækstpulje – Randers Kommune</a:t>
            </a:r>
          </a:p>
        </p:txBody>
      </p:sp>
      <p:pic>
        <p:nvPicPr>
          <p:cNvPr id="11" name="Billede 10">
            <a:extLst>
              <a:ext uri="{FF2B5EF4-FFF2-40B4-BE49-F238E27FC236}">
                <a16:creationId xmlns="" xmlns:a16="http://schemas.microsoft.com/office/drawing/2014/main" id="{6C2AA19E-2255-AE4A-B449-F0CD1169801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53400" y="6393180"/>
            <a:ext cx="957600" cy="183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42009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1171146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 smtClean="0"/>
              <a:t>Pause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2314041" y="5173688"/>
            <a:ext cx="7696800" cy="365918"/>
          </a:xfrm>
        </p:spPr>
        <p:txBody>
          <a:bodyPr/>
          <a:lstStyle/>
          <a:p>
            <a:r>
              <a:rPr lang="da-DK" b="1" dirty="0" smtClean="0"/>
              <a:t>Vi fortsætter kl. 18.15</a:t>
            </a:r>
          </a:p>
          <a:p>
            <a:pPr fontAlgn="base"/>
            <a:r>
              <a:rPr lang="da-DK" dirty="0"/>
              <a:t>18.15-19.15 Introduktion til fundraising og værktøjet: "fonde.dk" v. Rasmus Munch. </a:t>
            </a:r>
          </a:p>
          <a:p>
            <a:pPr fontAlgn="base"/>
            <a:r>
              <a:rPr lang="da-DK" dirty="0"/>
              <a:t>19.15-19.45 Spørgetime: Tilstede er udviklingskonsulenter fra Randers Kommune, repræsentanterne fra de lokale fonde, samt Rasmus fra fonde.dk</a:t>
            </a:r>
            <a:r>
              <a:rPr lang="da-DK" dirty="0" smtClean="0"/>
              <a:t>. </a:t>
            </a:r>
            <a:endParaRPr lang="da-DK" dirty="0"/>
          </a:p>
        </p:txBody>
      </p:sp>
      <p:pic>
        <p:nvPicPr>
          <p:cNvPr id="4" name="Billed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355404">
            <a:off x="8782995" y="793346"/>
            <a:ext cx="2455693" cy="1841770"/>
          </a:xfrm>
          <a:prstGeom prst="rect">
            <a:avLst/>
          </a:prstGeom>
        </p:spPr>
      </p:pic>
      <p:pic>
        <p:nvPicPr>
          <p:cNvPr id="5" name="Billed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750298">
            <a:off x="3399528" y="1047683"/>
            <a:ext cx="3090628" cy="1738478"/>
          </a:xfrm>
          <a:prstGeom prst="rect">
            <a:avLst/>
          </a:prstGeom>
        </p:spPr>
      </p:pic>
      <p:pic>
        <p:nvPicPr>
          <p:cNvPr id="6" name="Billed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56395">
            <a:off x="6810637" y="446929"/>
            <a:ext cx="1461581" cy="1948774"/>
          </a:xfrm>
          <a:prstGeom prst="rect">
            <a:avLst/>
          </a:prstGeom>
        </p:spPr>
      </p:pic>
      <p:pic>
        <p:nvPicPr>
          <p:cNvPr id="7" name="Billed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687619">
            <a:off x="7780817" y="1912253"/>
            <a:ext cx="2456741" cy="1646016"/>
          </a:xfrm>
          <a:prstGeom prst="rect">
            <a:avLst/>
          </a:prstGeom>
        </p:spPr>
      </p:pic>
      <p:pic>
        <p:nvPicPr>
          <p:cNvPr id="8" name="Billed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654836">
            <a:off x="269925" y="421584"/>
            <a:ext cx="3007486" cy="22556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205765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EC8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34285" y="-644189"/>
            <a:ext cx="7865392" cy="842383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51321" y="5491839"/>
            <a:ext cx="3296512" cy="436805"/>
          </a:xfrm>
          <a:prstGeom prst="rect">
            <a:avLst/>
          </a:prstGeom>
        </p:spPr>
      </p:pic>
      <p:cxnSp>
        <p:nvCxnSpPr>
          <p:cNvPr id="10" name="Straight Connector 9"/>
          <p:cNvCxnSpPr/>
          <p:nvPr/>
        </p:nvCxnSpPr>
        <p:spPr>
          <a:xfrm>
            <a:off x="10938410" y="996380"/>
            <a:ext cx="691243" cy="0"/>
          </a:xfrm>
          <a:prstGeom prst="line">
            <a:avLst/>
          </a:prstGeom>
          <a:ln w="25400">
            <a:solidFill>
              <a:srgbClr val="3D4F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9432277" y="6039483"/>
            <a:ext cx="236795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da-DK" sz="1200" spc="300" dirty="0">
                <a:solidFill>
                  <a:srgbClr val="000000"/>
                </a:solidFill>
                <a:latin typeface="Roboto" charset="0"/>
                <a:ea typeface="Roboto" charset="0"/>
                <a:cs typeface="Roboto" charset="0"/>
              </a:rPr>
              <a:t>www.fundraiseren.dk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962857" y="841169"/>
            <a:ext cx="5975554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a-DK" sz="1200" spc="300" dirty="0" smtClean="0">
                <a:solidFill>
                  <a:srgbClr val="000000"/>
                </a:solidFill>
                <a:latin typeface="Roboto" charset="0"/>
                <a:ea typeface="Roboto" charset="0"/>
                <a:cs typeface="Roboto" charset="0"/>
              </a:rPr>
              <a:t>22. </a:t>
            </a:r>
            <a:r>
              <a:rPr lang="da-DK" sz="1200" spc="300" dirty="0">
                <a:solidFill>
                  <a:srgbClr val="000000"/>
                </a:solidFill>
                <a:latin typeface="Roboto" charset="0"/>
                <a:ea typeface="Roboto" charset="0"/>
                <a:cs typeface="Roboto" charset="0"/>
              </a:rPr>
              <a:t>Oktober 2020</a:t>
            </a:r>
          </a:p>
          <a:p>
            <a:pPr algn="r"/>
            <a:endParaRPr lang="da-DK" sz="1200" spc="300" dirty="0">
              <a:solidFill>
                <a:srgbClr val="000000"/>
              </a:solidFill>
              <a:latin typeface="Roboto" charset="0"/>
              <a:ea typeface="Roboto" charset="0"/>
              <a:cs typeface="Roboto" charset="0"/>
            </a:endParaRPr>
          </a:p>
          <a:p>
            <a:pPr algn="r"/>
            <a:endParaRPr lang="da-DK" sz="1200" b="1" spc="300" dirty="0">
              <a:solidFill>
                <a:srgbClr val="000000"/>
              </a:solidFill>
              <a:latin typeface="Roboto" charset="0"/>
              <a:ea typeface="Roboto" charset="0"/>
              <a:cs typeface="Roboto" charset="0"/>
            </a:endParaRPr>
          </a:p>
          <a:p>
            <a:pPr algn="r"/>
            <a:endParaRPr lang="da-DK" sz="1200" b="1" spc="300" dirty="0">
              <a:solidFill>
                <a:srgbClr val="000000"/>
              </a:solidFill>
              <a:latin typeface="Roboto" charset="0"/>
              <a:ea typeface="Roboto" charset="0"/>
              <a:cs typeface="Roboto" charset="0"/>
            </a:endParaRPr>
          </a:p>
          <a:p>
            <a:pPr algn="r"/>
            <a:endParaRPr lang="da-DK" sz="1200" b="1" spc="300" dirty="0">
              <a:solidFill>
                <a:srgbClr val="000000"/>
              </a:solidFill>
              <a:latin typeface="Roboto" charset="0"/>
              <a:ea typeface="Roboto" charset="0"/>
              <a:cs typeface="Roboto" charset="0"/>
            </a:endParaRPr>
          </a:p>
          <a:p>
            <a:pPr algn="r"/>
            <a:endParaRPr lang="da-DK" sz="1200" b="1" spc="300" dirty="0">
              <a:solidFill>
                <a:srgbClr val="000000"/>
              </a:solidFill>
              <a:latin typeface="Roboto" charset="0"/>
              <a:ea typeface="Roboto" charset="0"/>
              <a:cs typeface="Roboto" charset="0"/>
            </a:endParaRPr>
          </a:p>
          <a:p>
            <a:pPr algn="r"/>
            <a:endParaRPr lang="da-DK" sz="1200" b="1" spc="300" dirty="0">
              <a:solidFill>
                <a:srgbClr val="000000"/>
              </a:solidFill>
              <a:latin typeface="Roboto" charset="0"/>
              <a:ea typeface="Roboto" charset="0"/>
              <a:cs typeface="Roboto" charset="0"/>
            </a:endParaRPr>
          </a:p>
          <a:p>
            <a:pPr algn="r"/>
            <a:endParaRPr lang="da-DK" sz="1200" b="1" spc="300" dirty="0">
              <a:solidFill>
                <a:srgbClr val="000000"/>
              </a:solidFill>
              <a:latin typeface="Roboto" charset="0"/>
              <a:ea typeface="Roboto" charset="0"/>
              <a:cs typeface="Roboto" charset="0"/>
            </a:endParaRPr>
          </a:p>
          <a:p>
            <a:pPr algn="r"/>
            <a:endParaRPr lang="da-DK" sz="1200" b="1" spc="300" dirty="0">
              <a:solidFill>
                <a:srgbClr val="000000"/>
              </a:solidFill>
              <a:latin typeface="Roboto" charset="0"/>
              <a:ea typeface="Roboto" charset="0"/>
              <a:cs typeface="Roboto" charset="0"/>
            </a:endParaRPr>
          </a:p>
          <a:p>
            <a:pPr algn="r"/>
            <a:endParaRPr lang="da-DK" sz="1200" b="1" spc="300" dirty="0">
              <a:solidFill>
                <a:srgbClr val="000000"/>
              </a:solidFill>
              <a:latin typeface="Roboto" charset="0"/>
              <a:ea typeface="Roboto" charset="0"/>
              <a:cs typeface="Roboto" charset="0"/>
            </a:endParaRPr>
          </a:p>
          <a:p>
            <a:pPr algn="r"/>
            <a:endParaRPr lang="da-DK" sz="1200" b="1" spc="300" dirty="0">
              <a:solidFill>
                <a:srgbClr val="000000"/>
              </a:solidFill>
              <a:latin typeface="Roboto" charset="0"/>
              <a:ea typeface="Roboto" charset="0"/>
              <a:cs typeface="Roboto" charset="0"/>
            </a:endParaRPr>
          </a:p>
          <a:p>
            <a:pPr algn="r"/>
            <a:endParaRPr lang="da-DK" sz="1200" b="1" spc="300" dirty="0">
              <a:solidFill>
                <a:srgbClr val="000000"/>
              </a:solidFill>
              <a:latin typeface="Roboto" charset="0"/>
              <a:ea typeface="Roboto" charset="0"/>
              <a:cs typeface="Roboto" charset="0"/>
            </a:endParaRPr>
          </a:p>
          <a:p>
            <a:pPr algn="r"/>
            <a:r>
              <a:rPr lang="da-DK" sz="1200" b="1" spc="300" dirty="0">
                <a:solidFill>
                  <a:srgbClr val="000000"/>
                </a:solidFill>
                <a:latin typeface="Roboto" charset="0"/>
                <a:ea typeface="Roboto" charset="0"/>
                <a:cs typeface="Roboto" charset="0"/>
              </a:rPr>
              <a:t>OPLÆG OM FUNDRAISING </a:t>
            </a:r>
          </a:p>
          <a:p>
            <a:pPr algn="r"/>
            <a:r>
              <a:rPr lang="da-DK" sz="1200" b="1" spc="300" dirty="0">
                <a:solidFill>
                  <a:srgbClr val="000000"/>
                </a:solidFill>
                <a:latin typeface="Roboto" charset="0"/>
                <a:ea typeface="Roboto" charset="0"/>
                <a:cs typeface="Roboto" charset="0"/>
              </a:rPr>
              <a:t>OG FONDE.DK</a:t>
            </a:r>
          </a:p>
        </p:txBody>
      </p:sp>
    </p:spTree>
    <p:extLst>
      <p:ext uri="{BB962C8B-B14F-4D97-AF65-F5344CB8AC3E}">
        <p14:creationId xmlns:p14="http://schemas.microsoft.com/office/powerpoint/2010/main" val="21894145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0" r="1600"/>
          <a:stretch>
            <a:fillRect/>
          </a:stretch>
        </p:blipFill>
        <p:spPr/>
      </p:pic>
      <p:sp>
        <p:nvSpPr>
          <p:cNvPr id="23" name="Rectangle 2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D4F41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693446" y="2659818"/>
            <a:ext cx="8858028" cy="1540451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4400" b="1" spc="600" dirty="0">
                <a:solidFill>
                  <a:srgbClr val="FFFFFF"/>
                </a:solidFill>
                <a:latin typeface="Playfair Display" charset="0"/>
                <a:ea typeface="Playfair Display" charset="0"/>
                <a:cs typeface="Playfair Display" charset="0"/>
              </a:rPr>
              <a:t>Fundraising til foreningslivet</a:t>
            </a:r>
          </a:p>
        </p:txBody>
      </p:sp>
    </p:spTree>
    <p:extLst>
      <p:ext uri="{BB962C8B-B14F-4D97-AF65-F5344CB8AC3E}">
        <p14:creationId xmlns:p14="http://schemas.microsoft.com/office/powerpoint/2010/main" val="184192678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790700" y="2029131"/>
            <a:ext cx="8610600" cy="337278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just">
              <a:lnSpc>
                <a:spcPct val="200000"/>
              </a:lnSpc>
              <a:buClr>
                <a:srgbClr val="FEC82C"/>
              </a:buClr>
            </a:pP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“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Hvis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du sender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en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dårlig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ansøgning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til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en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støtteyder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,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hvor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der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er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et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oplagt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match,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så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kan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du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sagtens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være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heldig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at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få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støtte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. Men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hvis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du sender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en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perfektt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ansøgning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til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en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støtteyder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,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hvor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der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ikke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er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noget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match,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så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kan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du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være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sikker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på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at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få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</a:t>
            </a:r>
            <a:r>
              <a:rPr lang="en-GB" sz="2200" b="1" i="1" dirty="0" err="1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afslag</a:t>
            </a:r>
            <a:r>
              <a:rPr lang="en-GB" sz="2200" b="1" i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”. </a:t>
            </a:r>
          </a:p>
        </p:txBody>
      </p:sp>
      <p:sp>
        <p:nvSpPr>
          <p:cNvPr id="3" name="Title 1">
            <a:extLst>
              <a:ext uri="{FF2B5EF4-FFF2-40B4-BE49-F238E27FC236}">
                <a16:creationId xmlns="" xmlns:a16="http://schemas.microsoft.com/office/drawing/2014/main" id="{222EA593-7A43-D04C-AB33-E87351F9E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90700" y="1042859"/>
            <a:ext cx="8610600" cy="495486"/>
          </a:xfrm>
        </p:spPr>
        <p:txBody>
          <a:bodyPr/>
          <a:lstStyle/>
          <a:p>
            <a:r>
              <a:rPr lang="da-DK" dirty="0"/>
              <a:t>Vigtigheden af donor research</a:t>
            </a:r>
          </a:p>
        </p:txBody>
      </p:sp>
    </p:spTree>
    <p:extLst>
      <p:ext uri="{BB962C8B-B14F-4D97-AF65-F5344CB8AC3E}">
        <p14:creationId xmlns:p14="http://schemas.microsoft.com/office/powerpoint/2010/main" val="366356949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Box 30"/>
          <p:cNvSpPr txBox="1"/>
          <p:nvPr/>
        </p:nvSpPr>
        <p:spPr>
          <a:xfrm>
            <a:off x="2308302" y="3956903"/>
            <a:ext cx="7575396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4000" b="1">
                <a:solidFill>
                  <a:srgbClr val="FFFFFF"/>
                </a:solidFill>
                <a:latin typeface="Playfair Display" charset="0"/>
                <a:ea typeface="Playfair Display" charset="0"/>
                <a:cs typeface="Playfair Display" charset="0"/>
              </a:rPr>
              <a:t>Professionalisering og organisering af fonde</a:t>
            </a:r>
          </a:p>
        </p:txBody>
      </p:sp>
      <p:sp>
        <p:nvSpPr>
          <p:cNvPr id="33" name="AutoShape 1"/>
          <p:cNvSpPr>
            <a:spLocks/>
          </p:cNvSpPr>
          <p:nvPr/>
        </p:nvSpPr>
        <p:spPr bwMode="auto">
          <a:xfrm rot="9545534">
            <a:off x="3550622" y="1352614"/>
            <a:ext cx="4823130" cy="469828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4990"/>
                </a:moveTo>
                <a:cubicBezTo>
                  <a:pt x="21600" y="15126"/>
                  <a:pt x="21600" y="15263"/>
                  <a:pt x="21600" y="15399"/>
                </a:cubicBezTo>
                <a:cubicBezTo>
                  <a:pt x="21594" y="15445"/>
                  <a:pt x="21584" y="15490"/>
                  <a:pt x="21584" y="15536"/>
                </a:cubicBezTo>
                <a:cubicBezTo>
                  <a:pt x="21583" y="15866"/>
                  <a:pt x="21538" y="16191"/>
                  <a:pt x="21471" y="16513"/>
                </a:cubicBezTo>
                <a:cubicBezTo>
                  <a:pt x="21274" y="17469"/>
                  <a:pt x="20847" y="18299"/>
                  <a:pt x="20177" y="18995"/>
                </a:cubicBezTo>
                <a:cubicBezTo>
                  <a:pt x="19694" y="19496"/>
                  <a:pt x="19133" y="19885"/>
                  <a:pt x="18522" y="20201"/>
                </a:cubicBezTo>
                <a:cubicBezTo>
                  <a:pt x="17784" y="20582"/>
                  <a:pt x="17006" y="20844"/>
                  <a:pt x="16205" y="21041"/>
                </a:cubicBezTo>
                <a:cubicBezTo>
                  <a:pt x="15549" y="21201"/>
                  <a:pt x="14886" y="21315"/>
                  <a:pt x="14217" y="21398"/>
                </a:cubicBezTo>
                <a:cubicBezTo>
                  <a:pt x="13683" y="21465"/>
                  <a:pt x="13147" y="21516"/>
                  <a:pt x="12611" y="21540"/>
                </a:cubicBezTo>
                <a:cubicBezTo>
                  <a:pt x="12079" y="21565"/>
                  <a:pt x="11548" y="21574"/>
                  <a:pt x="11017" y="21590"/>
                </a:cubicBezTo>
                <a:cubicBezTo>
                  <a:pt x="10990" y="21591"/>
                  <a:pt x="10963" y="21597"/>
                  <a:pt x="10936" y="21600"/>
                </a:cubicBezTo>
                <a:cubicBezTo>
                  <a:pt x="10845" y="21600"/>
                  <a:pt x="10755" y="21600"/>
                  <a:pt x="10664" y="21600"/>
                </a:cubicBezTo>
                <a:cubicBezTo>
                  <a:pt x="10625" y="21597"/>
                  <a:pt x="10586" y="21591"/>
                  <a:pt x="10547" y="21590"/>
                </a:cubicBezTo>
                <a:cubicBezTo>
                  <a:pt x="9871" y="21583"/>
                  <a:pt x="9194" y="21560"/>
                  <a:pt x="8519" y="21510"/>
                </a:cubicBezTo>
                <a:cubicBezTo>
                  <a:pt x="7699" y="21448"/>
                  <a:pt x="6883" y="21349"/>
                  <a:pt x="6076" y="21190"/>
                </a:cubicBezTo>
                <a:cubicBezTo>
                  <a:pt x="5309" y="21038"/>
                  <a:pt x="4557" y="20834"/>
                  <a:pt x="3829" y="20540"/>
                </a:cubicBezTo>
                <a:cubicBezTo>
                  <a:pt x="3154" y="20267"/>
                  <a:pt x="2517" y="19924"/>
                  <a:pt x="1944" y="19461"/>
                </a:cubicBezTo>
                <a:cubicBezTo>
                  <a:pt x="1121" y="18795"/>
                  <a:pt x="541" y="17957"/>
                  <a:pt x="245" y="16918"/>
                </a:cubicBezTo>
                <a:cubicBezTo>
                  <a:pt x="130" y="16515"/>
                  <a:pt x="62" y="16103"/>
                  <a:pt x="34" y="15684"/>
                </a:cubicBezTo>
                <a:cubicBezTo>
                  <a:pt x="28" y="15595"/>
                  <a:pt x="12" y="15507"/>
                  <a:pt x="0" y="15418"/>
                </a:cubicBezTo>
                <a:cubicBezTo>
                  <a:pt x="0" y="15275"/>
                  <a:pt x="0" y="15132"/>
                  <a:pt x="0" y="14990"/>
                </a:cubicBezTo>
                <a:cubicBezTo>
                  <a:pt x="9" y="14932"/>
                  <a:pt x="24" y="14875"/>
                  <a:pt x="27" y="14816"/>
                </a:cubicBezTo>
                <a:cubicBezTo>
                  <a:pt x="62" y="14139"/>
                  <a:pt x="174" y="13473"/>
                  <a:pt x="337" y="12816"/>
                </a:cubicBezTo>
                <a:cubicBezTo>
                  <a:pt x="559" y="11922"/>
                  <a:pt x="866" y="11057"/>
                  <a:pt x="1225" y="10212"/>
                </a:cubicBezTo>
                <a:cubicBezTo>
                  <a:pt x="1746" y="8981"/>
                  <a:pt x="2363" y="7801"/>
                  <a:pt x="3036" y="6651"/>
                </a:cubicBezTo>
                <a:cubicBezTo>
                  <a:pt x="3688" y="5538"/>
                  <a:pt x="4394" y="4464"/>
                  <a:pt x="5204" y="3465"/>
                </a:cubicBezTo>
                <a:cubicBezTo>
                  <a:pt x="5753" y="2789"/>
                  <a:pt x="6344" y="2155"/>
                  <a:pt x="7010" y="1599"/>
                </a:cubicBezTo>
                <a:cubicBezTo>
                  <a:pt x="7544" y="1152"/>
                  <a:pt x="8116" y="766"/>
                  <a:pt x="8747" y="479"/>
                </a:cubicBezTo>
                <a:cubicBezTo>
                  <a:pt x="9265" y="244"/>
                  <a:pt x="9803" y="87"/>
                  <a:pt x="10368" y="32"/>
                </a:cubicBezTo>
                <a:cubicBezTo>
                  <a:pt x="10461" y="23"/>
                  <a:pt x="10553" y="11"/>
                  <a:pt x="10646" y="0"/>
                </a:cubicBezTo>
                <a:cubicBezTo>
                  <a:pt x="10755" y="0"/>
                  <a:pt x="10863" y="0"/>
                  <a:pt x="10972" y="0"/>
                </a:cubicBezTo>
                <a:cubicBezTo>
                  <a:pt x="10999" y="5"/>
                  <a:pt x="11025" y="13"/>
                  <a:pt x="11052" y="15"/>
                </a:cubicBezTo>
                <a:cubicBezTo>
                  <a:pt x="11211" y="33"/>
                  <a:pt x="11371" y="43"/>
                  <a:pt x="11529" y="68"/>
                </a:cubicBezTo>
                <a:cubicBezTo>
                  <a:pt x="12160" y="165"/>
                  <a:pt x="12750" y="387"/>
                  <a:pt x="13311" y="696"/>
                </a:cubicBezTo>
                <a:cubicBezTo>
                  <a:pt x="14032" y="1093"/>
                  <a:pt x="14670" y="1607"/>
                  <a:pt x="15261" y="2185"/>
                </a:cubicBezTo>
                <a:cubicBezTo>
                  <a:pt x="15902" y="2811"/>
                  <a:pt x="16477" y="3498"/>
                  <a:pt x="17005" y="4225"/>
                </a:cubicBezTo>
                <a:cubicBezTo>
                  <a:pt x="18227" y="5906"/>
                  <a:pt x="19254" y="7707"/>
                  <a:pt x="20128" y="9601"/>
                </a:cubicBezTo>
                <a:cubicBezTo>
                  <a:pt x="20596" y="10615"/>
                  <a:pt x="20991" y="11657"/>
                  <a:pt x="21264" y="12744"/>
                </a:cubicBezTo>
                <a:cubicBezTo>
                  <a:pt x="21441" y="13445"/>
                  <a:pt x="21573" y="14154"/>
                  <a:pt x="21585" y="14881"/>
                </a:cubicBezTo>
                <a:cubicBezTo>
                  <a:pt x="21586" y="14918"/>
                  <a:pt x="21595" y="14954"/>
                  <a:pt x="21600" y="14990"/>
                </a:cubicBezTo>
                <a:close/>
                <a:moveTo>
                  <a:pt x="21600" y="14990"/>
                </a:moveTo>
              </a:path>
            </a:pathLst>
          </a:custGeom>
          <a:noFill/>
          <a:ln w="12700" cap="flat">
            <a:solidFill>
              <a:schemeClr val="bg1">
                <a:alpha val="30000"/>
              </a:schemeClr>
            </a:solidFill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da-DK">
              <a:solidFill>
                <a:srgbClr val="000000"/>
              </a:solidFill>
            </a:endParaRPr>
          </a:p>
        </p:txBody>
      </p:sp>
      <p:sp>
        <p:nvSpPr>
          <p:cNvPr id="6" name="Rektangel 5"/>
          <p:cNvSpPr/>
          <p:nvPr/>
        </p:nvSpPr>
        <p:spPr>
          <a:xfrm>
            <a:off x="9885450" y="6497343"/>
            <a:ext cx="227498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da-DK" sz="12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Kilde: Danmarks Statistik 2020</a:t>
            </a:r>
            <a:endParaRPr lang="da-DK" sz="1200" dirty="0">
              <a:solidFill>
                <a:srgbClr val="000000"/>
              </a:solidFill>
            </a:endParaRPr>
          </a:p>
        </p:txBody>
      </p:sp>
      <p:pic>
        <p:nvPicPr>
          <p:cNvPr id="3" name="Billede 2">
            <a:extLst>
              <a:ext uri="{FF2B5EF4-FFF2-40B4-BE49-F238E27FC236}">
                <a16:creationId xmlns="" xmlns:a16="http://schemas.microsoft.com/office/drawing/2014/main" id="{973C21B1-05CE-7242-84B3-C548F2352B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33040" y="1378308"/>
            <a:ext cx="9529591" cy="42974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82785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="" xmlns:a16="http://schemas.microsoft.com/office/drawing/2014/main" id="{F24CCD0F-8F0F-7A4D-A5D4-F9C290AC0D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98638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076028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>
            <a:extLst>
              <a:ext uri="{FF2B5EF4-FFF2-40B4-BE49-F238E27FC236}">
                <a16:creationId xmlns="" xmlns:a16="http://schemas.microsoft.com/office/drawing/2014/main" id="{284E79D2-6D4D-684A-807C-6907E1152E9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99104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35617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3">
            <a:extLst>
              <a:ext uri="{FF2B5EF4-FFF2-40B4-BE49-F238E27FC236}">
                <a16:creationId xmlns="" xmlns:a16="http://schemas.microsoft.com/office/drawing/2014/main" id="{96A37A9B-722F-2446-AFCB-F9886A2D69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920223"/>
            <a:ext cx="6014301" cy="5140382"/>
          </a:xfrm>
          <a:prstGeom prst="rect">
            <a:avLst/>
          </a:prstGeom>
        </p:spPr>
      </p:pic>
      <p:pic>
        <p:nvPicPr>
          <p:cNvPr id="6" name="Billede 5">
            <a:extLst>
              <a:ext uri="{FF2B5EF4-FFF2-40B4-BE49-F238E27FC236}">
                <a16:creationId xmlns="" xmlns:a16="http://schemas.microsoft.com/office/drawing/2014/main" id="{CCE10BB8-525D-BD4A-9257-0510F1068F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80230" y="1221874"/>
            <a:ext cx="5911770" cy="4838731"/>
          </a:xfrm>
          <a:prstGeom prst="rect">
            <a:avLst/>
          </a:prstGeom>
        </p:spPr>
      </p:pic>
      <p:pic>
        <p:nvPicPr>
          <p:cNvPr id="9" name="Billede 8">
            <a:extLst>
              <a:ext uri="{FF2B5EF4-FFF2-40B4-BE49-F238E27FC236}">
                <a16:creationId xmlns="" xmlns:a16="http://schemas.microsoft.com/office/drawing/2014/main" id="{D6BD043A-BFD0-7A43-95AD-87A57F1AFB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80230" y="920223"/>
            <a:ext cx="5911770" cy="1046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1002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Undertitel 1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67000" y="3952876"/>
            <a:ext cx="6858000" cy="16557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da-DK" sz="2800" b="1"/>
              <a:t>Koordinator Mette Risager</a:t>
            </a:r>
          </a:p>
          <a:p>
            <a:pPr eaLnBrk="1" hangingPunct="1"/>
            <a:r>
              <a:rPr lang="da-DK" altLang="da-DK" sz="2800" b="1"/>
              <a:t>Mobil: 60795313</a:t>
            </a:r>
          </a:p>
          <a:p>
            <a:pPr eaLnBrk="1" hangingPunct="1"/>
            <a:r>
              <a:rPr lang="da-DK" altLang="da-DK" sz="2800" b="1"/>
              <a:t>Mail: mr@lagranders-favrskov.dk</a:t>
            </a:r>
          </a:p>
        </p:txBody>
      </p:sp>
      <p:sp>
        <p:nvSpPr>
          <p:cNvPr id="2051" name="Titel 2"/>
          <p:cNvSpPr>
            <a:spLocks noGrp="1" noChangeArrowheads="1"/>
          </p:cNvSpPr>
          <p:nvPr>
            <p:ph type="ctrTitle"/>
          </p:nvPr>
        </p:nvSpPr>
        <p:spPr bwMode="auto">
          <a:xfrm>
            <a:off x="2362200" y="1274764"/>
            <a:ext cx="7772400" cy="1868487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da-DK" sz="4000"/>
              <a:t>LAG - </a:t>
            </a:r>
            <a:r>
              <a:rPr lang="da-DK" altLang="da-DK" sz="4000" u="sng"/>
              <a:t>L</a:t>
            </a:r>
            <a:r>
              <a:rPr lang="da-DK" altLang="da-DK" sz="4000"/>
              <a:t>okal </a:t>
            </a:r>
            <a:r>
              <a:rPr lang="da-DK" altLang="da-DK" sz="4000" u="sng"/>
              <a:t>A</a:t>
            </a:r>
            <a:r>
              <a:rPr lang="da-DK" altLang="da-DK" sz="4000"/>
              <a:t>ktions </a:t>
            </a:r>
            <a:r>
              <a:rPr lang="da-DK" altLang="da-DK" sz="4000" u="sng"/>
              <a:t>G</a:t>
            </a:r>
            <a:r>
              <a:rPr lang="da-DK" altLang="da-DK" sz="4000"/>
              <a:t>ruppe</a:t>
            </a:r>
            <a:br>
              <a:rPr lang="da-DK" altLang="da-DK" sz="4000"/>
            </a:br>
            <a:r>
              <a:rPr lang="da-DK" altLang="da-DK" sz="4000"/>
              <a:t/>
            </a:r>
            <a:br>
              <a:rPr lang="da-DK" altLang="da-DK" sz="4000"/>
            </a:br>
            <a:r>
              <a:rPr lang="da-DK" altLang="da-DK" sz="4000"/>
              <a:t>LAG Randers-Favrskov</a:t>
            </a:r>
          </a:p>
        </p:txBody>
      </p:sp>
    </p:spTree>
    <p:extLst>
      <p:ext uri="{BB962C8B-B14F-4D97-AF65-F5344CB8AC3E}">
        <p14:creationId xmlns:p14="http://schemas.microsoft.com/office/powerpoint/2010/main" val="4022235332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Offentlige puljer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790700" y="2172352"/>
            <a:ext cx="8610600" cy="2210862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Understøtter politiske formål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Faste årlig tilbagevendende frister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Informationsmøder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Ca. 500 ministerielle puljer i alt (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  <a:hlinkClick r:id="rId3"/>
              </a:rPr>
              <a:t>www.statenstilskudspuljer.dk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)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Uddelingsomfang kendes ikke (ministerielle puljer i 2008 udgjorde ca. 3 mia. kr.)</a:t>
            </a:r>
          </a:p>
        </p:txBody>
      </p:sp>
    </p:spTree>
    <p:extLst>
      <p:ext uri="{BB962C8B-B14F-4D97-AF65-F5344CB8AC3E}">
        <p14:creationId xmlns:p14="http://schemas.microsoft.com/office/powerpoint/2010/main" val="8730374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2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00" r="1600"/>
          <a:stretch>
            <a:fillRect/>
          </a:stretch>
        </p:blipFill>
        <p:spPr/>
      </p:pic>
      <p:sp>
        <p:nvSpPr>
          <p:cNvPr id="23" name="Rectangle 22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D4F41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693446" y="2659818"/>
            <a:ext cx="8858028" cy="1540451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da-DK" sz="4400" b="1" spc="600" dirty="0">
                <a:solidFill>
                  <a:srgbClr val="FFFFFF"/>
                </a:solidFill>
                <a:latin typeface="Playfair Display" charset="0"/>
                <a:ea typeface="Playfair Display" charset="0"/>
                <a:cs typeface="Playfair Display" charset="0"/>
              </a:rPr>
              <a:t>Det gode projekt og</a:t>
            </a:r>
          </a:p>
          <a:p>
            <a:pPr algn="ctr"/>
            <a:r>
              <a:rPr lang="da-DK" sz="4400" b="1" spc="600" dirty="0">
                <a:solidFill>
                  <a:srgbClr val="FFFFFF"/>
                </a:solidFill>
                <a:latin typeface="Playfair Display" charset="0"/>
                <a:ea typeface="Playfair Display" charset="0"/>
                <a:cs typeface="Playfair Display" charset="0"/>
              </a:rPr>
              <a:t>Den gode ansøgning</a:t>
            </a:r>
          </a:p>
        </p:txBody>
      </p:sp>
    </p:spTree>
    <p:extLst>
      <p:ext uri="{BB962C8B-B14F-4D97-AF65-F5344CB8AC3E}">
        <p14:creationId xmlns:p14="http://schemas.microsoft.com/office/powerpoint/2010/main" val="395196511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vad definerer et støtteværdigt projekt?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790700" y="2218852"/>
            <a:ext cx="2464777" cy="2210862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Er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samfundsrelevant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Kommer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mange 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til gode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Har en høj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faglig 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kvalitet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Har relevant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timing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Beskriver det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nytænkend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103253" y="2218852"/>
            <a:ext cx="2964914" cy="2210862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Har bred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opbakning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Består af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flere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personer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Er både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ambitiøst 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og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realistisk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Bygger på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åben- og ærlighed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Beskriver livet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efter 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fondsstøtten</a:t>
            </a:r>
          </a:p>
        </p:txBody>
      </p:sp>
    </p:spTree>
    <p:extLst>
      <p:ext uri="{BB962C8B-B14F-4D97-AF65-F5344CB8AC3E}">
        <p14:creationId xmlns:p14="http://schemas.microsoft.com/office/powerpoint/2010/main" val="21780285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Evaluering af fondsliste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790700" y="2172352"/>
            <a:ext cx="8610600" cy="307263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Accepterer din valgte 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bidragsyder ansøgninger? 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Har bidragsyder støttet inden for jeres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fagområde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?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Har bidragsyder støttet inden for jeres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geografiske 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område?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Er der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økonomiske forhold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, som påvirker bidragsyders evne til at give?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Giver bidragsyder til de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samme organisationer 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hvert år?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Har bidragsyder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fastlåst sine midler 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til specifikke områder i fremtiden?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Er det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balance 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mellem det ansøgte beløb og hvad bidragsyder normalt giver?</a:t>
            </a:r>
          </a:p>
        </p:txBody>
      </p:sp>
    </p:spTree>
    <p:extLst>
      <p:ext uri="{BB962C8B-B14F-4D97-AF65-F5344CB8AC3E}">
        <p14:creationId xmlns:p14="http://schemas.microsoft.com/office/powerpoint/2010/main" val="401784326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Evaluering af fondsliste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790700" y="2172352"/>
            <a:ext cx="8610600" cy="2641749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Har du tjekket om bidragsyder har en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politik 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om ikke at støtte jeres type projekt?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Fuldfinansierer 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bidragsyder normalt alt eller er det er krav, at andre også skal bidrage?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Er det kun en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begrænset 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tidsperiode at bidragsyder støtter op til?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Hvilken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type 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organisationer har bidragsyder primært fokus på?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Er der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faste 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ansøgningsfrister?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Kender I nogen, der kender nogen hos bidragsyder?</a:t>
            </a:r>
          </a:p>
        </p:txBody>
      </p:sp>
    </p:spTree>
    <p:extLst>
      <p:ext uri="{BB962C8B-B14F-4D97-AF65-F5344CB8AC3E}">
        <p14:creationId xmlns:p14="http://schemas.microsoft.com/office/powerpoint/2010/main" val="552978512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Flere tips til skrivefasen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790700" y="2172352"/>
            <a:ext cx="8610600" cy="436529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Anvend et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simpelt 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og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direkte 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hverdagssprog (nutid)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Undgå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jargon 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(noget der er indforstået) og forkortelser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Fremsæt dine forslag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klart 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og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tydeligt</a:t>
            </a:r>
            <a:endParaRPr lang="da-DK" sz="1400" dirty="0">
              <a:solidFill>
                <a:srgbClr val="000000">
                  <a:alpha val="70000"/>
                </a:srgbClr>
              </a:solidFill>
              <a:latin typeface="Roboto" charset="0"/>
              <a:ea typeface="Roboto" charset="0"/>
              <a:cs typeface="Roboto" charset="0"/>
            </a:endParaRP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Korte 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sætninger og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korte 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afsnit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Prøv ikke at være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for klog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!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Giv læseren mulighed for at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skimme via (under)overskrifter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Anvend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rigtige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, identificerbare cases og mennesker (case studies)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Fremhæv hvad støtteyders støtte vil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muliggøre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</a:t>
            </a:r>
            <a:r>
              <a:rPr lang="mr-IN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–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og hvordan de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tilgodeses</a:t>
            </a:r>
            <a:endParaRPr lang="en-GB" sz="1400" b="1" dirty="0">
              <a:solidFill>
                <a:srgbClr val="000000">
                  <a:alpha val="70000"/>
                </a:srgbClr>
              </a:solidFill>
              <a:latin typeface="Roboto" charset="0"/>
              <a:ea typeface="Roboto" charset="0"/>
              <a:cs typeface="Roboto" charset="0"/>
            </a:endParaRP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Få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feedback 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eksternt (målgruppe) og internt</a:t>
            </a:r>
          </a:p>
          <a:p>
            <a:pPr marL="285750" indent="-285750">
              <a:lnSpc>
                <a:spcPct val="20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Stop </a:t>
            </a:r>
            <a:r>
              <a:rPr lang="da-DK" sz="14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aldrig 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efter første udkast</a:t>
            </a:r>
          </a:p>
        </p:txBody>
      </p:sp>
    </p:spTree>
    <p:extLst>
      <p:ext uri="{BB962C8B-B14F-4D97-AF65-F5344CB8AC3E}">
        <p14:creationId xmlns:p14="http://schemas.microsoft.com/office/powerpoint/2010/main" val="2223647036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ladsholder til billede 3" descr="Depositphotos_67042187_l-2015.jpg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5" b="7865"/>
          <a:stretch>
            <a:fillRect/>
          </a:stretch>
        </p:blipFill>
        <p:spPr/>
      </p:pic>
      <p:sp>
        <p:nvSpPr>
          <p:cNvPr id="9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da-DK" dirty="0">
              <a:solidFill>
                <a:srgbClr val="FFFFFF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423882" y="3968832"/>
            <a:ext cx="9332208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a-DK" sz="4000" b="1" dirty="0">
                <a:solidFill>
                  <a:srgbClr val="FFFFFF"/>
                </a:solidFill>
                <a:latin typeface="Playfair Display" charset="0"/>
                <a:ea typeface="Playfair Display" charset="0"/>
                <a:cs typeface="Playfair Display" charset="0"/>
              </a:rPr>
              <a:t>Hvad glemmer vi ofte i vores budgetter </a:t>
            </a:r>
            <a:r>
              <a:rPr lang="mr-IN" sz="4000" b="1" dirty="0">
                <a:solidFill>
                  <a:srgbClr val="FFFFFF"/>
                </a:solidFill>
                <a:latin typeface="Playfair Display" charset="0"/>
                <a:ea typeface="Playfair Display" charset="0"/>
                <a:cs typeface="Playfair Display" charset="0"/>
              </a:rPr>
              <a:t>–</a:t>
            </a:r>
            <a:r>
              <a:rPr lang="da-DK" sz="4000" b="1" dirty="0">
                <a:solidFill>
                  <a:srgbClr val="FFFFFF"/>
                </a:solidFill>
                <a:latin typeface="Playfair Display" charset="0"/>
                <a:ea typeface="Playfair Display" charset="0"/>
                <a:cs typeface="Playfair Display" charset="0"/>
              </a:rPr>
              <a:t> og hvorfor er budgettet vigtigt?</a:t>
            </a:r>
          </a:p>
        </p:txBody>
      </p:sp>
      <p:sp>
        <p:nvSpPr>
          <p:cNvPr id="33" name="AutoShape 1"/>
          <p:cNvSpPr>
            <a:spLocks/>
          </p:cNvSpPr>
          <p:nvPr/>
        </p:nvSpPr>
        <p:spPr bwMode="auto">
          <a:xfrm rot="9545534">
            <a:off x="3550622" y="1352614"/>
            <a:ext cx="4823130" cy="4698286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4990"/>
                </a:moveTo>
                <a:cubicBezTo>
                  <a:pt x="21600" y="15126"/>
                  <a:pt x="21600" y="15263"/>
                  <a:pt x="21600" y="15399"/>
                </a:cubicBezTo>
                <a:cubicBezTo>
                  <a:pt x="21594" y="15445"/>
                  <a:pt x="21584" y="15490"/>
                  <a:pt x="21584" y="15536"/>
                </a:cubicBezTo>
                <a:cubicBezTo>
                  <a:pt x="21583" y="15866"/>
                  <a:pt x="21538" y="16191"/>
                  <a:pt x="21471" y="16513"/>
                </a:cubicBezTo>
                <a:cubicBezTo>
                  <a:pt x="21274" y="17469"/>
                  <a:pt x="20847" y="18299"/>
                  <a:pt x="20177" y="18995"/>
                </a:cubicBezTo>
                <a:cubicBezTo>
                  <a:pt x="19694" y="19496"/>
                  <a:pt x="19133" y="19885"/>
                  <a:pt x="18522" y="20201"/>
                </a:cubicBezTo>
                <a:cubicBezTo>
                  <a:pt x="17784" y="20582"/>
                  <a:pt x="17006" y="20844"/>
                  <a:pt x="16205" y="21041"/>
                </a:cubicBezTo>
                <a:cubicBezTo>
                  <a:pt x="15549" y="21201"/>
                  <a:pt x="14886" y="21315"/>
                  <a:pt x="14217" y="21398"/>
                </a:cubicBezTo>
                <a:cubicBezTo>
                  <a:pt x="13683" y="21465"/>
                  <a:pt x="13147" y="21516"/>
                  <a:pt x="12611" y="21540"/>
                </a:cubicBezTo>
                <a:cubicBezTo>
                  <a:pt x="12079" y="21565"/>
                  <a:pt x="11548" y="21574"/>
                  <a:pt x="11017" y="21590"/>
                </a:cubicBezTo>
                <a:cubicBezTo>
                  <a:pt x="10990" y="21591"/>
                  <a:pt x="10963" y="21597"/>
                  <a:pt x="10936" y="21600"/>
                </a:cubicBezTo>
                <a:cubicBezTo>
                  <a:pt x="10845" y="21600"/>
                  <a:pt x="10755" y="21600"/>
                  <a:pt x="10664" y="21600"/>
                </a:cubicBezTo>
                <a:cubicBezTo>
                  <a:pt x="10625" y="21597"/>
                  <a:pt x="10586" y="21591"/>
                  <a:pt x="10547" y="21590"/>
                </a:cubicBezTo>
                <a:cubicBezTo>
                  <a:pt x="9871" y="21583"/>
                  <a:pt x="9194" y="21560"/>
                  <a:pt x="8519" y="21510"/>
                </a:cubicBezTo>
                <a:cubicBezTo>
                  <a:pt x="7699" y="21448"/>
                  <a:pt x="6883" y="21349"/>
                  <a:pt x="6076" y="21190"/>
                </a:cubicBezTo>
                <a:cubicBezTo>
                  <a:pt x="5309" y="21038"/>
                  <a:pt x="4557" y="20834"/>
                  <a:pt x="3829" y="20540"/>
                </a:cubicBezTo>
                <a:cubicBezTo>
                  <a:pt x="3154" y="20267"/>
                  <a:pt x="2517" y="19924"/>
                  <a:pt x="1944" y="19461"/>
                </a:cubicBezTo>
                <a:cubicBezTo>
                  <a:pt x="1121" y="18795"/>
                  <a:pt x="541" y="17957"/>
                  <a:pt x="245" y="16918"/>
                </a:cubicBezTo>
                <a:cubicBezTo>
                  <a:pt x="130" y="16515"/>
                  <a:pt x="62" y="16103"/>
                  <a:pt x="34" y="15684"/>
                </a:cubicBezTo>
                <a:cubicBezTo>
                  <a:pt x="28" y="15595"/>
                  <a:pt x="12" y="15507"/>
                  <a:pt x="0" y="15418"/>
                </a:cubicBezTo>
                <a:cubicBezTo>
                  <a:pt x="0" y="15275"/>
                  <a:pt x="0" y="15132"/>
                  <a:pt x="0" y="14990"/>
                </a:cubicBezTo>
                <a:cubicBezTo>
                  <a:pt x="9" y="14932"/>
                  <a:pt x="24" y="14875"/>
                  <a:pt x="27" y="14816"/>
                </a:cubicBezTo>
                <a:cubicBezTo>
                  <a:pt x="62" y="14139"/>
                  <a:pt x="174" y="13473"/>
                  <a:pt x="337" y="12816"/>
                </a:cubicBezTo>
                <a:cubicBezTo>
                  <a:pt x="559" y="11922"/>
                  <a:pt x="866" y="11057"/>
                  <a:pt x="1225" y="10212"/>
                </a:cubicBezTo>
                <a:cubicBezTo>
                  <a:pt x="1746" y="8981"/>
                  <a:pt x="2363" y="7801"/>
                  <a:pt x="3036" y="6651"/>
                </a:cubicBezTo>
                <a:cubicBezTo>
                  <a:pt x="3688" y="5538"/>
                  <a:pt x="4394" y="4464"/>
                  <a:pt x="5204" y="3465"/>
                </a:cubicBezTo>
                <a:cubicBezTo>
                  <a:pt x="5753" y="2789"/>
                  <a:pt x="6344" y="2155"/>
                  <a:pt x="7010" y="1599"/>
                </a:cubicBezTo>
                <a:cubicBezTo>
                  <a:pt x="7544" y="1152"/>
                  <a:pt x="8116" y="766"/>
                  <a:pt x="8747" y="479"/>
                </a:cubicBezTo>
                <a:cubicBezTo>
                  <a:pt x="9265" y="244"/>
                  <a:pt x="9803" y="87"/>
                  <a:pt x="10368" y="32"/>
                </a:cubicBezTo>
                <a:cubicBezTo>
                  <a:pt x="10461" y="23"/>
                  <a:pt x="10553" y="11"/>
                  <a:pt x="10646" y="0"/>
                </a:cubicBezTo>
                <a:cubicBezTo>
                  <a:pt x="10755" y="0"/>
                  <a:pt x="10863" y="0"/>
                  <a:pt x="10972" y="0"/>
                </a:cubicBezTo>
                <a:cubicBezTo>
                  <a:pt x="10999" y="5"/>
                  <a:pt x="11025" y="13"/>
                  <a:pt x="11052" y="15"/>
                </a:cubicBezTo>
                <a:cubicBezTo>
                  <a:pt x="11211" y="33"/>
                  <a:pt x="11371" y="43"/>
                  <a:pt x="11529" y="68"/>
                </a:cubicBezTo>
                <a:cubicBezTo>
                  <a:pt x="12160" y="165"/>
                  <a:pt x="12750" y="387"/>
                  <a:pt x="13311" y="696"/>
                </a:cubicBezTo>
                <a:cubicBezTo>
                  <a:pt x="14032" y="1093"/>
                  <a:pt x="14670" y="1607"/>
                  <a:pt x="15261" y="2185"/>
                </a:cubicBezTo>
                <a:cubicBezTo>
                  <a:pt x="15902" y="2811"/>
                  <a:pt x="16477" y="3498"/>
                  <a:pt x="17005" y="4225"/>
                </a:cubicBezTo>
                <a:cubicBezTo>
                  <a:pt x="18227" y="5906"/>
                  <a:pt x="19254" y="7707"/>
                  <a:pt x="20128" y="9601"/>
                </a:cubicBezTo>
                <a:cubicBezTo>
                  <a:pt x="20596" y="10615"/>
                  <a:pt x="20991" y="11657"/>
                  <a:pt x="21264" y="12744"/>
                </a:cubicBezTo>
                <a:cubicBezTo>
                  <a:pt x="21441" y="13445"/>
                  <a:pt x="21573" y="14154"/>
                  <a:pt x="21585" y="14881"/>
                </a:cubicBezTo>
                <a:cubicBezTo>
                  <a:pt x="21586" y="14918"/>
                  <a:pt x="21595" y="14954"/>
                  <a:pt x="21600" y="14990"/>
                </a:cubicBezTo>
                <a:close/>
                <a:moveTo>
                  <a:pt x="21600" y="14990"/>
                </a:moveTo>
              </a:path>
            </a:pathLst>
          </a:custGeom>
          <a:noFill/>
          <a:ln w="12700" cap="flat">
            <a:solidFill>
              <a:schemeClr val="bg1">
                <a:alpha val="30000"/>
              </a:schemeClr>
            </a:solidFill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da-DK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303150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5"/>
          <p:cNvCxnSpPr/>
          <p:nvPr/>
        </p:nvCxnSpPr>
        <p:spPr>
          <a:xfrm>
            <a:off x="1349636" y="2261859"/>
            <a:ext cx="691243" cy="0"/>
          </a:xfrm>
          <a:prstGeom prst="line">
            <a:avLst/>
          </a:prstGeom>
          <a:ln w="25400">
            <a:solidFill>
              <a:srgbClr val="FEC8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6"/>
          <p:cNvSpPr txBox="1"/>
          <p:nvPr/>
        </p:nvSpPr>
        <p:spPr>
          <a:xfrm>
            <a:off x="1349637" y="2412466"/>
            <a:ext cx="4153480" cy="3672801"/>
          </a:xfrm>
          <a:prstGeom prst="rect">
            <a:avLst/>
          </a:prstGeom>
          <a:noFill/>
        </p:spPr>
        <p:txBody>
          <a:bodyPr wrap="square" lIns="0" tIns="0" rIns="91440" bIns="0" rtlCol="0">
            <a:spAutoFit/>
          </a:bodyPr>
          <a:lstStyle/>
          <a:p>
            <a:pPr marL="171450" indent="-171450">
              <a:lnSpc>
                <a:spcPct val="15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600" dirty="0">
                <a:solidFill>
                  <a:srgbClr val="000000">
                    <a:alpha val="60000"/>
                  </a:srgbClr>
                </a:solidFill>
                <a:latin typeface="Roboto" charset="0"/>
                <a:ea typeface="Roboto" charset="0"/>
                <a:cs typeface="Roboto" charset="0"/>
              </a:rPr>
              <a:t>Oversigt over omkostninger og hvordan man har tænkt sig at finansiere disse.</a:t>
            </a:r>
          </a:p>
          <a:p>
            <a:pPr marL="171450" indent="-171450">
              <a:lnSpc>
                <a:spcPct val="150000"/>
              </a:lnSpc>
              <a:buClr>
                <a:srgbClr val="FEC82C"/>
              </a:buClr>
              <a:buFont typeface="Arial" charset="0"/>
              <a:buChar char="•"/>
            </a:pPr>
            <a:endParaRPr lang="da-DK" sz="1600" dirty="0">
              <a:solidFill>
                <a:srgbClr val="000000">
                  <a:alpha val="60000"/>
                </a:srgbClr>
              </a:solidFill>
              <a:latin typeface="Roboto" charset="0"/>
              <a:ea typeface="Roboto" charset="0"/>
              <a:cs typeface="Roboto" charset="0"/>
            </a:endParaRPr>
          </a:p>
          <a:p>
            <a:pPr marL="171450" indent="-171450">
              <a:lnSpc>
                <a:spcPct val="15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600" dirty="0">
                <a:solidFill>
                  <a:srgbClr val="000000">
                    <a:alpha val="60000"/>
                  </a:srgbClr>
                </a:solidFill>
                <a:latin typeface="Roboto" charset="0"/>
                <a:ea typeface="Roboto" charset="0"/>
                <a:cs typeface="Roboto" charset="0"/>
              </a:rPr>
              <a:t>Projektansøgere glemmer ofte, at vise:</a:t>
            </a:r>
          </a:p>
          <a:p>
            <a:pPr marL="171450" indent="-171450">
              <a:lnSpc>
                <a:spcPct val="150000"/>
              </a:lnSpc>
              <a:buClr>
                <a:srgbClr val="FEC82C"/>
              </a:buClr>
              <a:buFont typeface="Arial" charset="0"/>
              <a:buChar char="•"/>
            </a:pPr>
            <a:endParaRPr lang="da-DK" sz="1600" dirty="0">
              <a:solidFill>
                <a:srgbClr val="000000">
                  <a:alpha val="60000"/>
                </a:srgbClr>
              </a:solidFill>
              <a:latin typeface="Roboto" charset="0"/>
              <a:ea typeface="Roboto" charset="0"/>
              <a:cs typeface="Roboto" charset="0"/>
            </a:endParaRPr>
          </a:p>
          <a:p>
            <a:pPr marL="628650" lvl="1" indent="-171450">
              <a:lnSpc>
                <a:spcPct val="15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600" dirty="0">
                <a:solidFill>
                  <a:srgbClr val="000000">
                    <a:alpha val="60000"/>
                  </a:srgbClr>
                </a:solidFill>
                <a:latin typeface="Roboto" charset="0"/>
                <a:ea typeface="Roboto" charset="0"/>
                <a:cs typeface="Roboto" charset="0"/>
              </a:rPr>
              <a:t>Hvor finansieringen skal komme fra og status på ansøgninger mv.</a:t>
            </a:r>
          </a:p>
          <a:p>
            <a:pPr marL="628650" lvl="1" indent="-171450">
              <a:lnSpc>
                <a:spcPct val="15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600" dirty="0">
                <a:solidFill>
                  <a:srgbClr val="000000">
                    <a:alpha val="60000"/>
                  </a:srgbClr>
                </a:solidFill>
                <a:latin typeface="Roboto" charset="0"/>
                <a:ea typeface="Roboto" charset="0"/>
                <a:cs typeface="Roboto" charset="0"/>
              </a:rPr>
              <a:t>Hvordan man selv vil bidrage (egenfinansiering)</a:t>
            </a:r>
          </a:p>
          <a:p>
            <a:pPr marL="628650" lvl="1" indent="-171450">
              <a:lnSpc>
                <a:spcPct val="150000"/>
              </a:lnSpc>
              <a:buClr>
                <a:srgbClr val="FEC82C"/>
              </a:buClr>
              <a:buFont typeface="Arial" charset="0"/>
              <a:buChar char="•"/>
            </a:pPr>
            <a:r>
              <a:rPr lang="da-DK" sz="1600" dirty="0">
                <a:solidFill>
                  <a:srgbClr val="000000">
                    <a:alpha val="60000"/>
                  </a:srgbClr>
                </a:solidFill>
                <a:latin typeface="Roboto" charset="0"/>
                <a:ea typeface="Roboto" charset="0"/>
                <a:cs typeface="Roboto" charset="0"/>
              </a:rPr>
              <a:t>Budgetnoter</a:t>
            </a: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265819" y="1747932"/>
            <a:ext cx="5295225" cy="49548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a-DK" sz="2000" b="1" dirty="0">
                <a:solidFill>
                  <a:srgbClr val="000000"/>
                </a:solidFill>
                <a:latin typeface="Playfair Display" charset="0"/>
                <a:ea typeface="Playfair Display" charset="0"/>
                <a:cs typeface="Playfair Display" charset="0"/>
              </a:rPr>
              <a:t>Budget- og finansieringsplan</a:t>
            </a:r>
          </a:p>
        </p:txBody>
      </p:sp>
      <p:pic>
        <p:nvPicPr>
          <p:cNvPr id="19" name="Billede 18" descr="budget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3901" y="0"/>
            <a:ext cx="6508099" cy="72933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5888946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0700" y="1498699"/>
            <a:ext cx="8610600" cy="495486"/>
          </a:xfrm>
        </p:spPr>
        <p:txBody>
          <a:bodyPr/>
          <a:lstStyle/>
          <a:p>
            <a:r>
              <a:rPr lang="da-DK" dirty="0"/>
              <a:t>Egenfinansiering</a:t>
            </a:r>
          </a:p>
        </p:txBody>
      </p:sp>
      <p:sp>
        <p:nvSpPr>
          <p:cNvPr id="4" name="AutoShape 2"/>
          <p:cNvSpPr>
            <a:spLocks/>
          </p:cNvSpPr>
          <p:nvPr/>
        </p:nvSpPr>
        <p:spPr bwMode="auto">
          <a:xfrm>
            <a:off x="716129" y="2701456"/>
            <a:ext cx="1993123" cy="2157065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solidFill>
            <a:srgbClr val="FEC82C"/>
          </a:solidFill>
          <a:ln w="19050">
            <a:solidFill>
              <a:srgbClr val="FEC82C"/>
            </a:solidFill>
          </a:ln>
        </p:spPr>
        <p:txBody>
          <a:bodyPr lIns="0" tIns="0" rIns="0" bIns="0" anchor="ctr"/>
          <a:lstStyle/>
          <a:p>
            <a:pPr algn="ctr"/>
            <a:endParaRPr lang="da-DK" sz="1600" dirty="0">
              <a:solidFill>
                <a:srgbClr val="000000"/>
              </a:solidFill>
              <a:latin typeface="Titillium" charset="0"/>
              <a:ea typeface="Titillium" charset="0"/>
              <a:cs typeface="Titillium" charset="0"/>
            </a:endParaRPr>
          </a:p>
        </p:txBody>
      </p:sp>
      <p:sp>
        <p:nvSpPr>
          <p:cNvPr id="5" name="AutoShape 2"/>
          <p:cNvSpPr>
            <a:spLocks/>
          </p:cNvSpPr>
          <p:nvPr/>
        </p:nvSpPr>
        <p:spPr bwMode="auto">
          <a:xfrm>
            <a:off x="2921955" y="2701456"/>
            <a:ext cx="1993123" cy="2157065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solidFill>
            <a:srgbClr val="FEC82C"/>
          </a:solidFill>
          <a:ln w="19050">
            <a:solidFill>
              <a:srgbClr val="FEC82C"/>
            </a:solidFill>
          </a:ln>
        </p:spPr>
        <p:txBody>
          <a:bodyPr lIns="0" tIns="0" rIns="0" bIns="0" anchor="ctr"/>
          <a:lstStyle/>
          <a:p>
            <a:pPr algn="ctr"/>
            <a:endParaRPr lang="da-DK" sz="1600" dirty="0">
              <a:solidFill>
                <a:srgbClr val="000000"/>
              </a:solidFill>
              <a:latin typeface="Titillium" charset="0"/>
              <a:ea typeface="Titillium" charset="0"/>
              <a:cs typeface="Titillium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716129" y="3577960"/>
            <a:ext cx="1993123" cy="402161"/>
          </a:xfrm>
          <a:prstGeom prst="rect">
            <a:avLst/>
          </a:prstGeom>
          <a:solidFill>
            <a:srgbClr val="FEC82C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da-DK" sz="1600" b="1" spc="200" dirty="0">
                <a:solidFill>
                  <a:srgbClr val="3D4F41"/>
                </a:solidFill>
                <a:latin typeface="Playfair Display" charset="0"/>
                <a:ea typeface="Playfair Display" charset="0"/>
                <a:cs typeface="Playfair Display" charset="0"/>
              </a:rPr>
              <a:t>Værdien af</a:t>
            </a:r>
          </a:p>
          <a:p>
            <a:pPr algn="ctr">
              <a:lnSpc>
                <a:spcPct val="80000"/>
              </a:lnSpc>
            </a:pPr>
            <a:r>
              <a:rPr lang="da-DK" sz="1600" b="1" spc="200" dirty="0">
                <a:solidFill>
                  <a:srgbClr val="3D4F41"/>
                </a:solidFill>
                <a:latin typeface="Playfair Display" charset="0"/>
                <a:ea typeface="Playfair Display" charset="0"/>
                <a:cs typeface="Playfair Display" charset="0"/>
              </a:rPr>
              <a:t>eget arbejde</a:t>
            </a:r>
          </a:p>
        </p:txBody>
      </p:sp>
      <p:sp>
        <p:nvSpPr>
          <p:cNvPr id="23" name="AutoShape 2"/>
          <p:cNvSpPr>
            <a:spLocks/>
          </p:cNvSpPr>
          <p:nvPr/>
        </p:nvSpPr>
        <p:spPr bwMode="auto">
          <a:xfrm>
            <a:off x="5107497" y="2701456"/>
            <a:ext cx="1993123" cy="2157065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solidFill>
            <a:srgbClr val="FEC82C"/>
          </a:solidFill>
          <a:ln w="19050">
            <a:solidFill>
              <a:srgbClr val="FEC82C"/>
            </a:solidFill>
          </a:ln>
        </p:spPr>
        <p:txBody>
          <a:bodyPr lIns="0" tIns="0" rIns="0" bIns="0" anchor="ctr"/>
          <a:lstStyle/>
          <a:p>
            <a:pPr algn="ctr"/>
            <a:endParaRPr lang="da-DK" sz="1600" dirty="0">
              <a:solidFill>
                <a:srgbClr val="000000"/>
              </a:solidFill>
              <a:latin typeface="Titillium" charset="0"/>
              <a:ea typeface="Titillium" charset="0"/>
              <a:cs typeface="Titillium" charset="0"/>
            </a:endParaRPr>
          </a:p>
        </p:txBody>
      </p:sp>
      <p:sp>
        <p:nvSpPr>
          <p:cNvPr id="24" name="AutoShape 2"/>
          <p:cNvSpPr>
            <a:spLocks/>
          </p:cNvSpPr>
          <p:nvPr/>
        </p:nvSpPr>
        <p:spPr bwMode="auto">
          <a:xfrm>
            <a:off x="7313323" y="2701456"/>
            <a:ext cx="1993123" cy="2157065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solidFill>
            <a:srgbClr val="FEC82C"/>
          </a:solidFill>
          <a:ln w="19050">
            <a:solidFill>
              <a:srgbClr val="FEC82C"/>
            </a:solidFill>
          </a:ln>
        </p:spPr>
        <p:txBody>
          <a:bodyPr lIns="0" tIns="0" rIns="0" bIns="0" anchor="ctr"/>
          <a:lstStyle/>
          <a:p>
            <a:pPr algn="ctr"/>
            <a:endParaRPr lang="da-DK" sz="1600" dirty="0">
              <a:solidFill>
                <a:srgbClr val="000000"/>
              </a:solidFill>
              <a:latin typeface="Titillium" charset="0"/>
              <a:ea typeface="Titillium" charset="0"/>
              <a:cs typeface="Titillium" charset="0"/>
            </a:endParaRPr>
          </a:p>
        </p:txBody>
      </p:sp>
      <p:sp>
        <p:nvSpPr>
          <p:cNvPr id="25" name="AutoShape 2"/>
          <p:cNvSpPr>
            <a:spLocks/>
          </p:cNvSpPr>
          <p:nvPr/>
        </p:nvSpPr>
        <p:spPr bwMode="auto">
          <a:xfrm>
            <a:off x="9519149" y="2701456"/>
            <a:ext cx="1993123" cy="2157065"/>
          </a:xfrm>
          <a:custGeom>
            <a:avLst/>
            <a:gdLst/>
            <a:ahLst/>
            <a:cxnLst/>
            <a:rect l="0" t="0" r="r" b="b"/>
            <a:pathLst>
              <a:path w="21600" h="21251">
                <a:moveTo>
                  <a:pt x="0" y="7472"/>
                </a:moveTo>
                <a:cubicBezTo>
                  <a:pt x="0" y="6079"/>
                  <a:pt x="1085" y="4368"/>
                  <a:pt x="2412" y="3670"/>
                </a:cubicBezTo>
                <a:lnTo>
                  <a:pt x="8389" y="523"/>
                </a:lnTo>
                <a:cubicBezTo>
                  <a:pt x="9715" y="-175"/>
                  <a:pt x="11885" y="-175"/>
                  <a:pt x="13211" y="523"/>
                </a:cubicBezTo>
                <a:lnTo>
                  <a:pt x="19188" y="3670"/>
                </a:lnTo>
                <a:cubicBezTo>
                  <a:pt x="20515" y="4368"/>
                  <a:pt x="21600" y="6079"/>
                  <a:pt x="21600" y="7472"/>
                </a:cubicBezTo>
                <a:lnTo>
                  <a:pt x="21600" y="13778"/>
                </a:lnTo>
                <a:cubicBezTo>
                  <a:pt x="21600" y="15171"/>
                  <a:pt x="20515" y="16882"/>
                  <a:pt x="19188" y="17580"/>
                </a:cubicBezTo>
                <a:lnTo>
                  <a:pt x="13211" y="20727"/>
                </a:lnTo>
                <a:cubicBezTo>
                  <a:pt x="11885" y="21425"/>
                  <a:pt x="9715" y="21425"/>
                  <a:pt x="8389" y="20727"/>
                </a:cubicBezTo>
                <a:lnTo>
                  <a:pt x="2412" y="17580"/>
                </a:lnTo>
                <a:cubicBezTo>
                  <a:pt x="1085" y="16882"/>
                  <a:pt x="0" y="15171"/>
                  <a:pt x="0" y="13778"/>
                </a:cubicBezTo>
                <a:lnTo>
                  <a:pt x="0" y="7472"/>
                </a:lnTo>
                <a:close/>
                <a:moveTo>
                  <a:pt x="0" y="7472"/>
                </a:moveTo>
              </a:path>
            </a:pathLst>
          </a:custGeom>
          <a:solidFill>
            <a:srgbClr val="FEC82C"/>
          </a:solidFill>
          <a:ln w="19050">
            <a:solidFill>
              <a:srgbClr val="FEC82C"/>
            </a:solidFill>
          </a:ln>
        </p:spPr>
        <p:txBody>
          <a:bodyPr lIns="0" tIns="0" rIns="0" bIns="0" anchor="ctr"/>
          <a:lstStyle/>
          <a:p>
            <a:pPr algn="ctr"/>
            <a:endParaRPr lang="da-DK" sz="1600" dirty="0">
              <a:solidFill>
                <a:srgbClr val="000000"/>
              </a:solidFill>
              <a:latin typeface="Titillium" charset="0"/>
              <a:ea typeface="Titillium" charset="0"/>
              <a:cs typeface="Titillium" charset="0"/>
            </a:endParaRPr>
          </a:p>
        </p:txBody>
      </p:sp>
      <p:sp>
        <p:nvSpPr>
          <p:cNvPr id="27" name="TextBox 7"/>
          <p:cNvSpPr txBox="1"/>
          <p:nvPr/>
        </p:nvSpPr>
        <p:spPr>
          <a:xfrm>
            <a:off x="2921955" y="3577960"/>
            <a:ext cx="1993123" cy="402161"/>
          </a:xfrm>
          <a:prstGeom prst="rect">
            <a:avLst/>
          </a:prstGeom>
          <a:solidFill>
            <a:srgbClr val="FEC82C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da-DK" sz="1600" b="1" spc="200" dirty="0">
                <a:solidFill>
                  <a:srgbClr val="3D4F41"/>
                </a:solidFill>
                <a:latin typeface="Playfair Display" charset="0"/>
                <a:ea typeface="Playfair Display" charset="0"/>
                <a:cs typeface="Playfair Display" charset="0"/>
              </a:rPr>
              <a:t>Frivillig arbejdskraft</a:t>
            </a:r>
          </a:p>
        </p:txBody>
      </p:sp>
      <p:sp>
        <p:nvSpPr>
          <p:cNvPr id="29" name="TextBox 7"/>
          <p:cNvSpPr txBox="1"/>
          <p:nvPr/>
        </p:nvSpPr>
        <p:spPr>
          <a:xfrm>
            <a:off x="5107497" y="3585791"/>
            <a:ext cx="1993123" cy="402161"/>
          </a:xfrm>
          <a:prstGeom prst="rect">
            <a:avLst/>
          </a:prstGeom>
          <a:solidFill>
            <a:srgbClr val="FEC82C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da-DK" sz="1600" b="1" spc="200" dirty="0">
                <a:solidFill>
                  <a:srgbClr val="3D4F41"/>
                </a:solidFill>
                <a:latin typeface="Playfair Display" charset="0"/>
                <a:ea typeface="Playfair Display" charset="0"/>
                <a:cs typeface="Playfair Display" charset="0"/>
              </a:rPr>
              <a:t>Eksisterende aktiviteter</a:t>
            </a:r>
          </a:p>
        </p:txBody>
      </p:sp>
      <p:sp>
        <p:nvSpPr>
          <p:cNvPr id="30" name="TextBox 7"/>
          <p:cNvSpPr txBox="1"/>
          <p:nvPr/>
        </p:nvSpPr>
        <p:spPr>
          <a:xfrm>
            <a:off x="7313323" y="3585791"/>
            <a:ext cx="1993123" cy="205184"/>
          </a:xfrm>
          <a:prstGeom prst="rect">
            <a:avLst/>
          </a:prstGeom>
          <a:solidFill>
            <a:srgbClr val="FEC82C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da-DK" sz="1600" b="1" spc="200" dirty="0">
                <a:solidFill>
                  <a:srgbClr val="3D4F41"/>
                </a:solidFill>
                <a:latin typeface="Playfair Display" charset="0"/>
                <a:ea typeface="Playfair Display" charset="0"/>
                <a:cs typeface="Playfair Display" charset="0"/>
              </a:rPr>
              <a:t>Penge</a:t>
            </a:r>
          </a:p>
        </p:txBody>
      </p:sp>
      <p:sp>
        <p:nvSpPr>
          <p:cNvPr id="31" name="TextBox 7"/>
          <p:cNvSpPr txBox="1"/>
          <p:nvPr/>
        </p:nvSpPr>
        <p:spPr>
          <a:xfrm>
            <a:off x="9520190" y="3585791"/>
            <a:ext cx="1993123" cy="599138"/>
          </a:xfrm>
          <a:prstGeom prst="rect">
            <a:avLst/>
          </a:prstGeom>
          <a:solidFill>
            <a:srgbClr val="FEC82C"/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da-DK" sz="1600" b="1" spc="200" dirty="0">
                <a:solidFill>
                  <a:srgbClr val="3D4F41"/>
                </a:solidFill>
                <a:latin typeface="Playfair Display" charset="0"/>
                <a:ea typeface="Playfair Display" charset="0"/>
                <a:cs typeface="Playfair Display" charset="0"/>
              </a:rPr>
              <a:t>Lokaler, byggegrund</a:t>
            </a:r>
          </a:p>
          <a:p>
            <a:pPr algn="ctr">
              <a:lnSpc>
                <a:spcPct val="80000"/>
              </a:lnSpc>
            </a:pPr>
            <a:r>
              <a:rPr lang="da-DK" sz="1600" b="1" spc="200" dirty="0">
                <a:solidFill>
                  <a:srgbClr val="3D4F41"/>
                </a:solidFill>
                <a:latin typeface="Playfair Display" charset="0"/>
                <a:ea typeface="Playfair Display" charset="0"/>
                <a:cs typeface="Playfair Display" charset="0"/>
              </a:rPr>
              <a:t>mv.</a:t>
            </a:r>
          </a:p>
        </p:txBody>
      </p:sp>
    </p:spTree>
    <p:extLst>
      <p:ext uri="{BB962C8B-B14F-4D97-AF65-F5344CB8AC3E}">
        <p14:creationId xmlns:p14="http://schemas.microsoft.com/office/powerpoint/2010/main" val="2067443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23" grpId="0" animBg="1"/>
      <p:bldP spid="24" grpId="0" animBg="1"/>
      <p:bldP spid="25" grpId="0" animBg="1"/>
      <p:bldP spid="27" grpId="0" animBg="1"/>
      <p:bldP spid="29" grpId="0" animBg="1"/>
      <p:bldP spid="30" grpId="0" animBg="1"/>
      <p:bldP spid="31" grpId="0" animBg="1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Hvad sker der efter projektets realisering?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790700" y="2172352"/>
            <a:ext cx="8610600" cy="2318583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342900" indent="-342900">
              <a:lnSpc>
                <a:spcPct val="200000"/>
              </a:lnSpc>
              <a:buClr>
                <a:srgbClr val="FEC82C"/>
              </a:buClr>
              <a:buFont typeface="Arial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Hvad skal projektet </a:t>
            </a:r>
            <a:r>
              <a:rPr lang="da-DK" sz="20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leve af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, når projektperioden er slut?</a:t>
            </a:r>
          </a:p>
          <a:p>
            <a:pPr marL="342900" indent="-342900">
              <a:buClr>
                <a:srgbClr val="FEC82C"/>
              </a:buClr>
              <a:buFont typeface="Arial"/>
              <a:buChar char="•"/>
            </a:pPr>
            <a:endParaRPr lang="da-DK" sz="1400" dirty="0">
              <a:solidFill>
                <a:srgbClr val="000000">
                  <a:alpha val="70000"/>
                </a:srgbClr>
              </a:solidFill>
              <a:latin typeface="Roboto" charset="0"/>
              <a:ea typeface="Roboto" charset="0"/>
              <a:cs typeface="Roboto" charset="0"/>
            </a:endParaRPr>
          </a:p>
          <a:p>
            <a:pPr marL="342900" indent="-342900">
              <a:lnSpc>
                <a:spcPct val="200000"/>
              </a:lnSpc>
              <a:buClr>
                <a:srgbClr val="FEC82C"/>
              </a:buClr>
              <a:buFont typeface="Arial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Hvad vil det </a:t>
            </a:r>
            <a:r>
              <a:rPr lang="da-DK" sz="20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koste at vedligeholde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projektet i en driftsfase?</a:t>
            </a:r>
          </a:p>
          <a:p>
            <a:pPr marL="342900" indent="-342900">
              <a:buClr>
                <a:srgbClr val="FEC82C"/>
              </a:buClr>
              <a:buFont typeface="Arial"/>
              <a:buChar char="•"/>
            </a:pPr>
            <a:endParaRPr lang="da-DK" sz="1400" dirty="0">
              <a:solidFill>
                <a:srgbClr val="000000">
                  <a:alpha val="70000"/>
                </a:srgbClr>
              </a:solidFill>
              <a:latin typeface="Roboto" charset="0"/>
              <a:ea typeface="Roboto" charset="0"/>
              <a:cs typeface="Roboto" charset="0"/>
            </a:endParaRPr>
          </a:p>
          <a:p>
            <a:pPr marL="342900" indent="-342900">
              <a:lnSpc>
                <a:spcPct val="200000"/>
              </a:lnSpc>
              <a:buClr>
                <a:srgbClr val="FEC82C"/>
              </a:buClr>
              <a:buFont typeface="Arial"/>
              <a:buChar char="•"/>
            </a:pP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Hvordan skal den </a:t>
            </a:r>
            <a:r>
              <a:rPr lang="da-DK" sz="20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fremtidige drift</a:t>
            </a:r>
            <a:r>
              <a:rPr lang="da-DK" sz="14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finansieres?</a:t>
            </a:r>
          </a:p>
        </p:txBody>
      </p:sp>
      <p:sp>
        <p:nvSpPr>
          <p:cNvPr id="7" name="AutoShape 1"/>
          <p:cNvSpPr>
            <a:spLocks/>
          </p:cNvSpPr>
          <p:nvPr/>
        </p:nvSpPr>
        <p:spPr bwMode="auto">
          <a:xfrm rot="16200000">
            <a:off x="7977042" y="1381470"/>
            <a:ext cx="2013113" cy="2030432"/>
          </a:xfrm>
          <a:custGeom>
            <a:avLst/>
            <a:gdLst/>
            <a:ahLst/>
            <a:cxnLst/>
            <a:rect l="0" t="0" r="r" b="b"/>
            <a:pathLst>
              <a:path w="21600" h="21600">
                <a:moveTo>
                  <a:pt x="21600" y="14990"/>
                </a:moveTo>
                <a:cubicBezTo>
                  <a:pt x="21600" y="15126"/>
                  <a:pt x="21600" y="15263"/>
                  <a:pt x="21600" y="15399"/>
                </a:cubicBezTo>
                <a:cubicBezTo>
                  <a:pt x="21594" y="15445"/>
                  <a:pt x="21584" y="15490"/>
                  <a:pt x="21584" y="15536"/>
                </a:cubicBezTo>
                <a:cubicBezTo>
                  <a:pt x="21583" y="15866"/>
                  <a:pt x="21538" y="16191"/>
                  <a:pt x="21471" y="16513"/>
                </a:cubicBezTo>
                <a:cubicBezTo>
                  <a:pt x="21274" y="17469"/>
                  <a:pt x="20847" y="18299"/>
                  <a:pt x="20177" y="18995"/>
                </a:cubicBezTo>
                <a:cubicBezTo>
                  <a:pt x="19694" y="19496"/>
                  <a:pt x="19133" y="19885"/>
                  <a:pt x="18522" y="20201"/>
                </a:cubicBezTo>
                <a:cubicBezTo>
                  <a:pt x="17784" y="20582"/>
                  <a:pt x="17006" y="20844"/>
                  <a:pt x="16205" y="21041"/>
                </a:cubicBezTo>
                <a:cubicBezTo>
                  <a:pt x="15549" y="21201"/>
                  <a:pt x="14886" y="21315"/>
                  <a:pt x="14217" y="21398"/>
                </a:cubicBezTo>
                <a:cubicBezTo>
                  <a:pt x="13683" y="21465"/>
                  <a:pt x="13147" y="21516"/>
                  <a:pt x="12611" y="21540"/>
                </a:cubicBezTo>
                <a:cubicBezTo>
                  <a:pt x="12079" y="21565"/>
                  <a:pt x="11548" y="21574"/>
                  <a:pt x="11017" y="21590"/>
                </a:cubicBezTo>
                <a:cubicBezTo>
                  <a:pt x="10990" y="21591"/>
                  <a:pt x="10963" y="21597"/>
                  <a:pt x="10936" y="21600"/>
                </a:cubicBezTo>
                <a:cubicBezTo>
                  <a:pt x="10845" y="21600"/>
                  <a:pt x="10755" y="21600"/>
                  <a:pt x="10664" y="21600"/>
                </a:cubicBezTo>
                <a:cubicBezTo>
                  <a:pt x="10625" y="21597"/>
                  <a:pt x="10586" y="21591"/>
                  <a:pt x="10547" y="21590"/>
                </a:cubicBezTo>
                <a:cubicBezTo>
                  <a:pt x="9871" y="21583"/>
                  <a:pt x="9194" y="21560"/>
                  <a:pt x="8519" y="21510"/>
                </a:cubicBezTo>
                <a:cubicBezTo>
                  <a:pt x="7699" y="21448"/>
                  <a:pt x="6883" y="21349"/>
                  <a:pt x="6076" y="21190"/>
                </a:cubicBezTo>
                <a:cubicBezTo>
                  <a:pt x="5309" y="21038"/>
                  <a:pt x="4557" y="20834"/>
                  <a:pt x="3829" y="20540"/>
                </a:cubicBezTo>
                <a:cubicBezTo>
                  <a:pt x="3154" y="20267"/>
                  <a:pt x="2517" y="19924"/>
                  <a:pt x="1944" y="19461"/>
                </a:cubicBezTo>
                <a:cubicBezTo>
                  <a:pt x="1121" y="18795"/>
                  <a:pt x="541" y="17957"/>
                  <a:pt x="245" y="16918"/>
                </a:cubicBezTo>
                <a:cubicBezTo>
                  <a:pt x="130" y="16515"/>
                  <a:pt x="62" y="16103"/>
                  <a:pt x="34" y="15684"/>
                </a:cubicBezTo>
                <a:cubicBezTo>
                  <a:pt x="28" y="15595"/>
                  <a:pt x="12" y="15507"/>
                  <a:pt x="0" y="15418"/>
                </a:cubicBezTo>
                <a:cubicBezTo>
                  <a:pt x="0" y="15275"/>
                  <a:pt x="0" y="15132"/>
                  <a:pt x="0" y="14990"/>
                </a:cubicBezTo>
                <a:cubicBezTo>
                  <a:pt x="9" y="14932"/>
                  <a:pt x="24" y="14875"/>
                  <a:pt x="27" y="14816"/>
                </a:cubicBezTo>
                <a:cubicBezTo>
                  <a:pt x="62" y="14139"/>
                  <a:pt x="174" y="13473"/>
                  <a:pt x="337" y="12816"/>
                </a:cubicBezTo>
                <a:cubicBezTo>
                  <a:pt x="559" y="11922"/>
                  <a:pt x="866" y="11057"/>
                  <a:pt x="1225" y="10212"/>
                </a:cubicBezTo>
                <a:cubicBezTo>
                  <a:pt x="1746" y="8981"/>
                  <a:pt x="2363" y="7801"/>
                  <a:pt x="3036" y="6651"/>
                </a:cubicBezTo>
                <a:cubicBezTo>
                  <a:pt x="3688" y="5538"/>
                  <a:pt x="4394" y="4464"/>
                  <a:pt x="5204" y="3465"/>
                </a:cubicBezTo>
                <a:cubicBezTo>
                  <a:pt x="5753" y="2789"/>
                  <a:pt x="6344" y="2155"/>
                  <a:pt x="7010" y="1599"/>
                </a:cubicBezTo>
                <a:cubicBezTo>
                  <a:pt x="7544" y="1152"/>
                  <a:pt x="8116" y="766"/>
                  <a:pt x="8747" y="479"/>
                </a:cubicBezTo>
                <a:cubicBezTo>
                  <a:pt x="9265" y="244"/>
                  <a:pt x="9803" y="87"/>
                  <a:pt x="10368" y="32"/>
                </a:cubicBezTo>
                <a:cubicBezTo>
                  <a:pt x="10461" y="23"/>
                  <a:pt x="10553" y="11"/>
                  <a:pt x="10646" y="0"/>
                </a:cubicBezTo>
                <a:cubicBezTo>
                  <a:pt x="10755" y="0"/>
                  <a:pt x="10863" y="0"/>
                  <a:pt x="10972" y="0"/>
                </a:cubicBezTo>
                <a:cubicBezTo>
                  <a:pt x="10999" y="5"/>
                  <a:pt x="11025" y="13"/>
                  <a:pt x="11052" y="15"/>
                </a:cubicBezTo>
                <a:cubicBezTo>
                  <a:pt x="11211" y="33"/>
                  <a:pt x="11371" y="43"/>
                  <a:pt x="11529" y="68"/>
                </a:cubicBezTo>
                <a:cubicBezTo>
                  <a:pt x="12160" y="165"/>
                  <a:pt x="12750" y="387"/>
                  <a:pt x="13311" y="696"/>
                </a:cubicBezTo>
                <a:cubicBezTo>
                  <a:pt x="14032" y="1093"/>
                  <a:pt x="14670" y="1607"/>
                  <a:pt x="15261" y="2185"/>
                </a:cubicBezTo>
                <a:cubicBezTo>
                  <a:pt x="15902" y="2811"/>
                  <a:pt x="16477" y="3498"/>
                  <a:pt x="17005" y="4225"/>
                </a:cubicBezTo>
                <a:cubicBezTo>
                  <a:pt x="18227" y="5906"/>
                  <a:pt x="19254" y="7707"/>
                  <a:pt x="20128" y="9601"/>
                </a:cubicBezTo>
                <a:cubicBezTo>
                  <a:pt x="20596" y="10615"/>
                  <a:pt x="20991" y="11657"/>
                  <a:pt x="21264" y="12744"/>
                </a:cubicBezTo>
                <a:cubicBezTo>
                  <a:pt x="21441" y="13445"/>
                  <a:pt x="21573" y="14154"/>
                  <a:pt x="21585" y="14881"/>
                </a:cubicBezTo>
                <a:cubicBezTo>
                  <a:pt x="21586" y="14918"/>
                  <a:pt x="21595" y="14954"/>
                  <a:pt x="21600" y="14990"/>
                </a:cubicBezTo>
                <a:close/>
                <a:moveTo>
                  <a:pt x="21600" y="14990"/>
                </a:moveTo>
              </a:path>
            </a:pathLst>
          </a:custGeom>
          <a:noFill/>
          <a:ln w="25400" cap="flat">
            <a:solidFill>
              <a:schemeClr val="bg1"/>
            </a:solidFill>
            <a:miter lim="800000"/>
            <a:headEnd type="none" w="med" len="med"/>
            <a:tailEnd type="none" w="med" len="med"/>
          </a:ln>
        </p:spPr>
        <p:txBody>
          <a:bodyPr lIns="0" tIns="0" rIns="0" bIns="0"/>
          <a:lstStyle/>
          <a:p>
            <a:endParaRPr lang="da-DK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58911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el 1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da-DK" smtClean="0"/>
              <a:t>LAG Randers-Favrskov</a:t>
            </a:r>
            <a:br>
              <a:rPr lang="da-DK" altLang="da-DK" smtClean="0"/>
            </a:br>
            <a:r>
              <a:rPr lang="da-DK" altLang="da-DK" smtClean="0"/>
              <a:t>bestyrelse (8 + 5 + 2)</a:t>
            </a:r>
          </a:p>
        </p:txBody>
      </p:sp>
      <p:pic>
        <p:nvPicPr>
          <p:cNvPr id="3075" name="Pladsholder til indhold 6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8200" y="1825625"/>
            <a:ext cx="5435600" cy="40767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7578199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did you learn in school today?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790700" y="2172352"/>
            <a:ext cx="8610600" cy="3467616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342900" indent="-342900">
              <a:lnSpc>
                <a:spcPct val="200000"/>
              </a:lnSpc>
              <a:buClr>
                <a:srgbClr val="FEC82C"/>
              </a:buClr>
              <a:buFont typeface="Arial"/>
              <a:buChar char="•"/>
            </a:pPr>
            <a:r>
              <a:rPr lang="da-DK" sz="16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Fra </a:t>
            </a:r>
            <a:r>
              <a:rPr lang="da-DK" sz="16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traditionel </a:t>
            </a:r>
            <a:r>
              <a:rPr lang="da-DK" sz="16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ansøgning til </a:t>
            </a:r>
            <a:r>
              <a:rPr lang="da-DK" sz="16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dialog </a:t>
            </a:r>
            <a:r>
              <a:rPr lang="da-DK" sz="16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og </a:t>
            </a:r>
            <a:r>
              <a:rPr lang="da-DK" sz="16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professionalisme</a:t>
            </a:r>
          </a:p>
          <a:p>
            <a:pPr marL="342900" indent="-342900">
              <a:lnSpc>
                <a:spcPct val="200000"/>
              </a:lnSpc>
              <a:buClr>
                <a:srgbClr val="FEC82C"/>
              </a:buClr>
              <a:buFont typeface="Arial"/>
              <a:buChar char="•"/>
            </a:pPr>
            <a:r>
              <a:rPr lang="da-DK" sz="16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Flere og flere arbejder </a:t>
            </a:r>
            <a:r>
              <a:rPr lang="da-DK" sz="16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systematisk </a:t>
            </a:r>
            <a:r>
              <a:rPr lang="da-DK" sz="16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med fundraising</a:t>
            </a:r>
          </a:p>
          <a:p>
            <a:pPr marL="342900" indent="-342900">
              <a:lnSpc>
                <a:spcPct val="200000"/>
              </a:lnSpc>
              <a:buClr>
                <a:srgbClr val="FEC82C"/>
              </a:buClr>
              <a:buFont typeface="Arial"/>
              <a:buChar char="•"/>
            </a:pPr>
            <a:r>
              <a:rPr lang="da-DK" sz="16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Større </a:t>
            </a:r>
            <a:r>
              <a:rPr lang="da-DK" sz="16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afhængighed </a:t>
            </a:r>
            <a:r>
              <a:rPr lang="da-DK" sz="16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af fondsmidler </a:t>
            </a:r>
            <a:r>
              <a:rPr lang="mr-IN" sz="16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–</a:t>
            </a:r>
            <a:r>
              <a:rPr lang="da-DK" sz="16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og stigning i fondsmidler!</a:t>
            </a:r>
          </a:p>
          <a:p>
            <a:pPr marL="342900" indent="-342900">
              <a:lnSpc>
                <a:spcPct val="200000"/>
              </a:lnSpc>
              <a:buClr>
                <a:srgbClr val="FEC82C"/>
              </a:buClr>
              <a:buFont typeface="Arial"/>
              <a:buChar char="•"/>
            </a:pPr>
            <a:r>
              <a:rPr lang="da-DK" sz="16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Det støtteværdige projekt er </a:t>
            </a:r>
            <a:r>
              <a:rPr lang="da-DK" sz="16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samfundsrelevant</a:t>
            </a:r>
            <a:r>
              <a:rPr lang="da-DK" sz="16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, </a:t>
            </a:r>
            <a:r>
              <a:rPr lang="da-DK" sz="16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fagligt</a:t>
            </a:r>
            <a:r>
              <a:rPr lang="da-DK" sz="16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 og kommer </a:t>
            </a:r>
            <a:r>
              <a:rPr lang="da-DK" sz="16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mange til gode</a:t>
            </a:r>
          </a:p>
          <a:p>
            <a:pPr marL="342900" indent="-342900">
              <a:lnSpc>
                <a:spcPct val="200000"/>
              </a:lnSpc>
              <a:buClr>
                <a:srgbClr val="FEC82C"/>
              </a:buClr>
              <a:buFont typeface="Arial"/>
              <a:buChar char="•"/>
            </a:pPr>
            <a:r>
              <a:rPr lang="da-DK" sz="16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Vinklingen starter med </a:t>
            </a:r>
            <a:r>
              <a:rPr lang="da-DK" sz="16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kernefortællingen </a:t>
            </a:r>
            <a:r>
              <a:rPr lang="da-DK" sz="16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og projektets </a:t>
            </a:r>
            <a:r>
              <a:rPr lang="da-DK" sz="16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WHY </a:t>
            </a:r>
            <a:r>
              <a:rPr lang="da-DK" sz="16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(begrundet argumentation)</a:t>
            </a:r>
          </a:p>
          <a:p>
            <a:pPr marL="342900" indent="-342900">
              <a:lnSpc>
                <a:spcPct val="200000"/>
              </a:lnSpc>
              <a:buClr>
                <a:srgbClr val="FEC82C"/>
              </a:buClr>
              <a:buFont typeface="Arial"/>
              <a:buChar char="•"/>
            </a:pPr>
            <a:r>
              <a:rPr lang="da-DK" sz="16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Research </a:t>
            </a:r>
            <a:r>
              <a:rPr lang="da-DK" sz="16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er meget mere end fondsdatabaser</a:t>
            </a:r>
            <a:r>
              <a:rPr lang="mr-IN" sz="16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…</a:t>
            </a:r>
            <a:endParaRPr lang="da-DK" sz="1600" dirty="0">
              <a:solidFill>
                <a:srgbClr val="000000">
                  <a:alpha val="70000"/>
                </a:srgbClr>
              </a:solidFill>
              <a:latin typeface="Roboto" charset="0"/>
              <a:ea typeface="Roboto" charset="0"/>
              <a:cs typeface="Roboto" charset="0"/>
            </a:endParaRPr>
          </a:p>
          <a:p>
            <a:pPr marL="342900" indent="-342900">
              <a:lnSpc>
                <a:spcPct val="200000"/>
              </a:lnSpc>
              <a:buClr>
                <a:srgbClr val="FEC82C"/>
              </a:buClr>
              <a:buFont typeface="Arial"/>
              <a:buChar char="•"/>
            </a:pPr>
            <a:r>
              <a:rPr lang="da-DK" sz="1600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Brænd ikke alle kort på hænderne – </a:t>
            </a:r>
            <a:r>
              <a:rPr lang="da-DK" sz="1600" b="1" dirty="0">
                <a:solidFill>
                  <a:srgbClr val="000000">
                    <a:alpha val="70000"/>
                  </a:srgbClr>
                </a:solidFill>
                <a:latin typeface="Roboto" charset="0"/>
                <a:ea typeface="Roboto" charset="0"/>
                <a:cs typeface="Roboto" charset="0"/>
              </a:rPr>
              <a:t>søg i bølger</a:t>
            </a:r>
          </a:p>
        </p:txBody>
      </p:sp>
    </p:spTree>
    <p:extLst>
      <p:ext uri="{BB962C8B-B14F-4D97-AF65-F5344CB8AC3E}">
        <p14:creationId xmlns:p14="http://schemas.microsoft.com/office/powerpoint/2010/main" val="180466519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="" xmlns:a16="http://schemas.microsoft.com/office/drawing/2014/main" id="{1C0B65A4-20A1-40FB-BF14-9E2E324DDE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/>
          </a:p>
        </p:txBody>
      </p:sp>
      <p:pic>
        <p:nvPicPr>
          <p:cNvPr id="4" name="Billede 3">
            <a:hlinkClick r:id="rId3"/>
            <a:extLst>
              <a:ext uri="{FF2B5EF4-FFF2-40B4-BE49-F238E27FC236}">
                <a16:creationId xmlns="" xmlns:a16="http://schemas.microsoft.com/office/drawing/2014/main" id="{173BFF92-4E7B-4627-B3ED-180D31FC2B83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0256" b="2689"/>
          <a:stretch/>
        </p:blipFill>
        <p:spPr>
          <a:xfrm>
            <a:off x="1234910" y="1042859"/>
            <a:ext cx="10957089" cy="51170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30844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 descr="Skærmbillede 2018-10-07 kl. 22.25.47.pn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77"/>
          <a:stretch/>
        </p:blipFill>
        <p:spPr>
          <a:xfrm>
            <a:off x="1292851" y="1378559"/>
            <a:ext cx="9733766" cy="4353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9914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el 1"/>
          <p:cNvSpPr>
            <a:spLocks noGrp="1" noChangeArrowheads="1"/>
          </p:cNvSpPr>
          <p:nvPr>
            <p:ph type="title"/>
          </p:nvPr>
        </p:nvSpPr>
        <p:spPr bwMode="auto">
          <a:xfrm>
            <a:off x="2152650" y="365126"/>
            <a:ext cx="7886700" cy="10826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da-DK" smtClean="0"/>
              <a:t>LAG Randers - Favrskov</a:t>
            </a:r>
            <a:br>
              <a:rPr lang="da-DK" altLang="da-DK" smtClean="0"/>
            </a:br>
            <a:r>
              <a:rPr lang="da-DK" altLang="da-DK" sz="2000"/>
              <a:t>Udviklingsstrategi 2014-2020</a:t>
            </a:r>
            <a:endParaRPr lang="da-DK" altLang="da-DK" smtClean="0"/>
          </a:p>
        </p:txBody>
      </p:sp>
      <p:sp>
        <p:nvSpPr>
          <p:cNvPr id="4099" name="Pladsholder til tekst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54239" y="1154113"/>
            <a:ext cx="3868737" cy="97631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da-DK" smtClean="0"/>
              <a:t>Erhverv</a:t>
            </a:r>
          </a:p>
        </p:txBody>
      </p:sp>
      <p:sp>
        <p:nvSpPr>
          <p:cNvPr id="4100" name="Pladsholder til indhold 3"/>
          <p:cNvSpPr>
            <a:spLocks noGrp="1" noChangeArrowheads="1"/>
          </p:cNvSpPr>
          <p:nvPr>
            <p:ph sz="half" idx="2"/>
          </p:nvPr>
        </p:nvSpPr>
        <p:spPr bwMode="auto">
          <a:xfrm>
            <a:off x="2154239" y="2505075"/>
            <a:ext cx="3868737" cy="34051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da-DK" smtClean="0"/>
              <a:t>Fødevarer</a:t>
            </a:r>
          </a:p>
          <a:p>
            <a:pPr eaLnBrk="1" hangingPunct="1"/>
            <a:r>
              <a:rPr lang="da-DK" altLang="da-DK" smtClean="0"/>
              <a:t>Turisme</a:t>
            </a:r>
          </a:p>
          <a:p>
            <a:pPr eaLnBrk="1" hangingPunct="1"/>
            <a:r>
              <a:rPr lang="da-DK" altLang="da-DK" smtClean="0"/>
              <a:t>Andet..</a:t>
            </a:r>
          </a:p>
          <a:p>
            <a:pPr eaLnBrk="1" hangingPunct="1"/>
            <a:r>
              <a:rPr lang="da-DK" altLang="da-DK" smtClean="0"/>
              <a:t>Netværk</a:t>
            </a:r>
          </a:p>
        </p:txBody>
      </p:sp>
      <p:sp>
        <p:nvSpPr>
          <p:cNvPr id="4101" name="Pladsholder til tekst 4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11789" y="1154114"/>
            <a:ext cx="4645025" cy="9048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da-DK" smtClean="0"/>
              <a:t>Rammevilkår</a:t>
            </a:r>
          </a:p>
        </p:txBody>
      </p:sp>
      <p:sp>
        <p:nvSpPr>
          <p:cNvPr id="4102" name="Pladsholder til indhold 5"/>
          <p:cNvSpPr>
            <a:spLocks noGrp="1" noChangeArrowheads="1"/>
          </p:cNvSpPr>
          <p:nvPr>
            <p:ph sz="quarter" idx="4"/>
          </p:nvPr>
        </p:nvSpPr>
        <p:spPr bwMode="auto">
          <a:xfrm>
            <a:off x="5314950" y="2505075"/>
            <a:ext cx="4725988" cy="34051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da-DK" smtClean="0"/>
              <a:t>Forskønnelse</a:t>
            </a:r>
          </a:p>
          <a:p>
            <a:pPr eaLnBrk="1" hangingPunct="1"/>
            <a:r>
              <a:rPr lang="da-DK" altLang="da-DK" smtClean="0"/>
              <a:t>Adgang – stier m.v.</a:t>
            </a:r>
          </a:p>
          <a:p>
            <a:pPr eaLnBrk="1" hangingPunct="1"/>
            <a:r>
              <a:rPr lang="da-DK" altLang="da-DK" smtClean="0"/>
              <a:t>Adgang til naturoplevelser</a:t>
            </a:r>
          </a:p>
          <a:p>
            <a:pPr eaLnBrk="1" hangingPunct="1"/>
            <a:r>
              <a:rPr lang="da-DK" altLang="da-DK" smtClean="0"/>
              <a:t>Kulturelle forhold</a:t>
            </a:r>
          </a:p>
          <a:p>
            <a:pPr eaLnBrk="1" hangingPunct="1"/>
            <a:r>
              <a:rPr lang="da-DK" altLang="da-DK" smtClean="0"/>
              <a:t>Netværk</a:t>
            </a:r>
          </a:p>
        </p:txBody>
      </p:sp>
    </p:spTree>
    <p:extLst>
      <p:ext uri="{BB962C8B-B14F-4D97-AF65-F5344CB8AC3E}">
        <p14:creationId xmlns:p14="http://schemas.microsoft.com/office/powerpoint/2010/main" val="20105985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el 1"/>
          <p:cNvSpPr>
            <a:spLocks noGrp="1" noChangeArrowheads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da-DK" sz="3200"/>
              <a:t>EU’s Landdistriktsprogram</a:t>
            </a:r>
            <a:br>
              <a:rPr lang="da-DK" altLang="da-DK" sz="3200"/>
            </a:br>
            <a:r>
              <a:rPr lang="da-DK" altLang="da-DK" sz="3200"/>
              <a:t>2 søjler: 1. Landbrugsstøtte, 2. LAG</a:t>
            </a:r>
          </a:p>
        </p:txBody>
      </p:sp>
      <p:sp>
        <p:nvSpPr>
          <p:cNvPr id="5123" name="Pladsholder til indhold 2"/>
          <p:cNvSpPr>
            <a:spLocks noGrp="1" noChangeArrowheads="1"/>
          </p:cNvSpPr>
          <p:nvPr>
            <p:ph idx="1"/>
          </p:nvPr>
        </p:nvSpPr>
        <p:spPr bwMode="auto">
          <a:xfrm>
            <a:off x="2152650" y="1825625"/>
            <a:ext cx="7886700" cy="40767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da-DK" altLang="da-DK" smtClean="0"/>
              <a:t>Det kommende Landdistriktsprogram er endnu ikke godkendt i EU Parlamentet</a:t>
            </a:r>
          </a:p>
          <a:p>
            <a:pPr eaLnBrk="1" hangingPunct="1"/>
            <a:r>
              <a:rPr lang="da-DK" altLang="da-DK" smtClean="0"/>
              <a:t>2 års forsinkelse – Brexit, CoVid-19…</a:t>
            </a:r>
          </a:p>
          <a:p>
            <a:pPr eaLnBrk="1" hangingPunct="1"/>
            <a:r>
              <a:rPr lang="da-DK" altLang="da-DK" smtClean="0"/>
              <a:t>Forlængelse af det nuværende 1-2 år…</a:t>
            </a:r>
          </a:p>
          <a:p>
            <a:pPr eaLnBrk="1" hangingPunct="1"/>
            <a:r>
              <a:rPr lang="da-DK" altLang="da-DK" smtClean="0"/>
              <a:t>Nye LAG mobiliseres i 2021 eller 2022, efter områdeudpegning</a:t>
            </a:r>
          </a:p>
          <a:p>
            <a:pPr eaLnBrk="1" hangingPunct="1"/>
            <a:r>
              <a:rPr lang="da-DK" altLang="da-DK" smtClean="0"/>
              <a:t>Vi venter spændt </a:t>
            </a:r>
            <a:r>
              <a:rPr lang="da-DK" altLang="da-DK" smtClean="0">
                <a:sym typeface="Wingdings" panose="05000000000000000000" pitchFamily="2" charset="2"/>
              </a:rPr>
              <a:t></a:t>
            </a:r>
            <a:endParaRPr lang="da-DK" altLang="da-DK" smtClean="0"/>
          </a:p>
        </p:txBody>
      </p:sp>
    </p:spTree>
    <p:extLst>
      <p:ext uri="{BB962C8B-B14F-4D97-AF65-F5344CB8AC3E}">
        <p14:creationId xmlns:p14="http://schemas.microsoft.com/office/powerpoint/2010/main" val="402406972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Undertitel 1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667001" y="2844800"/>
            <a:ext cx="7185025" cy="24257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342900" indent="-342900" algn="l" eaLnBrk="1" hangingPunct="1">
              <a:buFont typeface="Arial" panose="020B0604020202020204" pitchFamily="34" charset="0"/>
              <a:buChar char="•"/>
            </a:pPr>
            <a:r>
              <a:rPr lang="da-DK" altLang="da-DK" smtClean="0"/>
              <a:t>Kommer til borgermøder m.v. </a:t>
            </a:r>
          </a:p>
          <a:p>
            <a:pPr marL="342900" indent="-342900" algn="l" eaLnBrk="1" hangingPunct="1">
              <a:buFont typeface="Arial" panose="020B0604020202020204" pitchFamily="34" charset="0"/>
              <a:buChar char="•"/>
            </a:pPr>
            <a:r>
              <a:rPr lang="da-DK" altLang="da-DK" smtClean="0"/>
              <a:t>Hjælp med at facilitere processer</a:t>
            </a:r>
          </a:p>
          <a:p>
            <a:pPr marL="342900" indent="-342900" algn="l" eaLnBrk="1" hangingPunct="1">
              <a:buFont typeface="Arial" panose="020B0604020202020204" pitchFamily="34" charset="0"/>
              <a:buChar char="•"/>
            </a:pPr>
            <a:r>
              <a:rPr lang="da-DK" altLang="da-DK" smtClean="0"/>
              <a:t>Sparring og hjælp med ansøgninger</a:t>
            </a:r>
          </a:p>
          <a:p>
            <a:pPr marL="342900" indent="-342900" algn="l" eaLnBrk="1" hangingPunct="1">
              <a:buFont typeface="Arial" panose="020B0604020202020204" pitchFamily="34" charset="0"/>
              <a:buChar char="•"/>
            </a:pPr>
            <a:r>
              <a:rPr lang="da-DK" altLang="da-DK" smtClean="0"/>
              <a:t>Sparring på fundraising generelt</a:t>
            </a:r>
          </a:p>
          <a:p>
            <a:pPr marL="342900" indent="-342900" algn="l" eaLnBrk="1" hangingPunct="1">
              <a:buFont typeface="Arial" panose="020B0604020202020204" pitchFamily="34" charset="0"/>
              <a:buChar char="•"/>
            </a:pPr>
            <a:r>
              <a:rPr lang="da-DK" altLang="da-DK" smtClean="0"/>
              <a:t>Tag endelig kontakt og lad os komme igang</a:t>
            </a:r>
          </a:p>
        </p:txBody>
      </p:sp>
      <p:sp>
        <p:nvSpPr>
          <p:cNvPr id="5123" name="Titel 2"/>
          <p:cNvSpPr>
            <a:spLocks noGrp="1" noChangeArrowheads="1"/>
          </p:cNvSpPr>
          <p:nvPr>
            <p:ph type="ctrTitle"/>
          </p:nvPr>
        </p:nvSpPr>
        <p:spPr bwMode="auto">
          <a:xfrm>
            <a:off x="2154239" y="503238"/>
            <a:ext cx="8105775" cy="2425700"/>
          </a:xfr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eaLnBrk="1" hangingPunct="1">
              <a:defRPr/>
            </a:pPr>
            <a:r>
              <a:rPr lang="da-DK" altLang="da-DK" sz="3200" dirty="0">
                <a:solidFill>
                  <a:schemeClr val="tx1"/>
                </a:solidFill>
              </a:rPr>
              <a:t/>
            </a:r>
            <a:br>
              <a:rPr lang="da-DK" altLang="da-DK" sz="3200" dirty="0">
                <a:solidFill>
                  <a:schemeClr val="tx1"/>
                </a:solidFill>
              </a:rPr>
            </a:br>
            <a:r>
              <a:rPr lang="da-DK" altLang="da-DK" sz="4000" dirty="0">
                <a:solidFill>
                  <a:schemeClr val="accent1">
                    <a:lumMod val="75000"/>
                  </a:schemeClr>
                </a:solidFill>
              </a:rPr>
              <a:t>Ansøgningsfrister 2021: </a:t>
            </a:r>
            <a:r>
              <a:rPr lang="da-DK" altLang="da-DK" sz="3200" dirty="0">
                <a:solidFill>
                  <a:schemeClr val="tx1"/>
                </a:solidFill>
              </a:rPr>
              <a:t/>
            </a:r>
            <a:br>
              <a:rPr lang="da-DK" altLang="da-DK" sz="3200" dirty="0">
                <a:solidFill>
                  <a:schemeClr val="tx1"/>
                </a:solidFill>
              </a:rPr>
            </a:br>
            <a:r>
              <a:rPr lang="da-DK" altLang="da-DK" sz="2800" dirty="0">
                <a:solidFill>
                  <a:srgbClr val="FF0000"/>
                </a:solidFill>
              </a:rPr>
              <a:t>12. februar og  23. april</a:t>
            </a:r>
            <a:r>
              <a:rPr lang="da-DK" altLang="da-DK" sz="2800" dirty="0">
                <a:solidFill>
                  <a:schemeClr val="tx1"/>
                </a:solidFill>
              </a:rPr>
              <a:t/>
            </a:r>
            <a:br>
              <a:rPr lang="da-DK" altLang="da-DK" sz="2800" dirty="0">
                <a:solidFill>
                  <a:schemeClr val="tx1"/>
                </a:solidFill>
              </a:rPr>
            </a:br>
            <a:r>
              <a:rPr lang="da-DK" altLang="da-DK" sz="2800" dirty="0">
                <a:solidFill>
                  <a:schemeClr val="tx1"/>
                </a:solidFill>
              </a:rPr>
              <a:t/>
            </a:r>
            <a:br>
              <a:rPr lang="da-DK" altLang="da-DK" sz="2800" dirty="0">
                <a:solidFill>
                  <a:schemeClr val="tx1"/>
                </a:solidFill>
              </a:rPr>
            </a:br>
            <a:r>
              <a:rPr lang="da-DK" altLang="da-DK" sz="2800" dirty="0">
                <a:solidFill>
                  <a:schemeClr val="tx1"/>
                </a:solidFill>
              </a:rPr>
              <a:t>Koordinator er ansat til at hjælpe jer:</a:t>
            </a:r>
            <a:br>
              <a:rPr lang="da-DK" altLang="da-DK" sz="2800" dirty="0">
                <a:solidFill>
                  <a:schemeClr val="tx1"/>
                </a:solidFill>
              </a:rPr>
            </a:br>
            <a:endParaRPr lang="da-DK" altLang="da-DK" sz="28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25052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Pladsholder til indhold 2"/>
          <p:cNvSpPr>
            <a:spLocks noGrp="1" noChangeArrowheads="1"/>
          </p:cNvSpPr>
          <p:nvPr>
            <p:ph idx="1"/>
          </p:nvPr>
        </p:nvSpPr>
        <p:spPr bwMode="auto">
          <a:xfrm>
            <a:off x="2152650" y="904875"/>
            <a:ext cx="7886700" cy="49974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 eaLnBrk="1" hangingPunct="1">
              <a:buNone/>
            </a:pPr>
            <a:r>
              <a:rPr lang="da-DK" altLang="da-DK" smtClean="0"/>
              <a:t>LAG indstiller projekter:</a:t>
            </a:r>
          </a:p>
          <a:p>
            <a:pPr marL="0" indent="0" eaLnBrk="1" hangingPunct="1">
              <a:buNone/>
            </a:pPr>
            <a:endParaRPr lang="da-DK" altLang="da-DK" smtClean="0"/>
          </a:p>
          <a:p>
            <a:pPr marL="0" indent="0" eaLnBrk="1" hangingPunct="1">
              <a:buNone/>
            </a:pPr>
            <a:r>
              <a:rPr lang="da-DK" altLang="da-DK" smtClean="0"/>
              <a:t>Legalitetskontrol og udbetaling hos Erhvervsstyrelsen. </a:t>
            </a:r>
          </a:p>
          <a:p>
            <a:pPr marL="0" indent="0" eaLnBrk="1" hangingPunct="1">
              <a:buNone/>
            </a:pPr>
            <a:r>
              <a:rPr lang="da-DK" altLang="da-DK" smtClean="0"/>
              <a:t>EU midler under Landdistriktsprogrammet</a:t>
            </a:r>
          </a:p>
          <a:p>
            <a:pPr marL="0" indent="0" eaLnBrk="1" hangingPunct="1">
              <a:buNone/>
            </a:pPr>
            <a:endParaRPr lang="da-DK" altLang="da-DK" smtClean="0"/>
          </a:p>
          <a:p>
            <a:pPr marL="0" indent="0" eaLnBrk="1" hangingPunct="1">
              <a:buNone/>
            </a:pPr>
            <a:r>
              <a:rPr lang="da-DK" altLang="da-DK" smtClean="0"/>
              <a:t>Kommunale midler til Rammevilkår. Landdistriktsudvalget behandler og sender endelige tilsagn. Kommunen udbetaler.</a:t>
            </a:r>
          </a:p>
        </p:txBody>
      </p:sp>
    </p:spTree>
    <p:extLst>
      <p:ext uri="{BB962C8B-B14F-4D97-AF65-F5344CB8AC3E}">
        <p14:creationId xmlns:p14="http://schemas.microsoft.com/office/powerpoint/2010/main" val="21515129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FUIrmg6hvlj2czL7gPr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wsNXJTUDC9dqqiLa_MGg"/>
</p:tagLst>
</file>

<file path=ppt/theme/theme1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FLAG - overskrift 2">
  <a:themeElements>
    <a:clrScheme name="LAG">
      <a:dk1>
        <a:sysClr val="windowText" lastClr="000000"/>
      </a:dk1>
      <a:lt1>
        <a:sysClr val="window" lastClr="FFFFFF"/>
      </a:lt1>
      <a:dk2>
        <a:srgbClr val="0487B1"/>
      </a:dk2>
      <a:lt2>
        <a:srgbClr val="EFF6E6"/>
      </a:lt2>
      <a:accent1>
        <a:srgbClr val="0F79A4"/>
      </a:accent1>
      <a:accent2>
        <a:srgbClr val="B2D284"/>
      </a:accent2>
      <a:accent3>
        <a:srgbClr val="A50021"/>
      </a:accent3>
      <a:accent4>
        <a:srgbClr val="EB6600"/>
      </a:accent4>
      <a:accent5>
        <a:srgbClr val="993300"/>
      </a:accent5>
      <a:accent6>
        <a:srgbClr val="F79646"/>
      </a:accent6>
      <a:hlink>
        <a:srgbClr val="64B8A4"/>
      </a:hlink>
      <a:folHlink>
        <a:srgbClr val="FF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æsentation1" id="{B3021A68-83B0-46D7-9DEF-29CAB37F9133}" vid="{B34C130E-7F57-44B9-B9F4-AE20824806FC}"/>
    </a:ext>
  </a:extLst>
</a:theme>
</file>

<file path=ppt/theme/theme3.xml><?xml version="1.0" encoding="utf-8"?>
<a:theme xmlns:a="http://schemas.openxmlformats.org/drawingml/2006/main" name="Norlys">
  <a:themeElements>
    <a:clrScheme name="Norlys">
      <a:dk1>
        <a:sysClr val="windowText" lastClr="000000"/>
      </a:dk1>
      <a:lt1>
        <a:sysClr val="window" lastClr="FFFFFF"/>
      </a:lt1>
      <a:dk2>
        <a:srgbClr val="000000"/>
      </a:dk2>
      <a:lt2>
        <a:srgbClr val="E7E6E6"/>
      </a:lt2>
      <a:accent1>
        <a:srgbClr val="F8232D"/>
      </a:accent1>
      <a:accent2>
        <a:srgbClr val="FFDEE5"/>
      </a:accent2>
      <a:accent3>
        <a:srgbClr val="25D287"/>
      </a:accent3>
      <a:accent4>
        <a:srgbClr val="002B6B"/>
      </a:accent4>
      <a:accent5>
        <a:srgbClr val="FFDB38"/>
      </a:accent5>
      <a:accent6>
        <a:srgbClr val="694F38"/>
      </a:accent6>
      <a:hlink>
        <a:srgbClr val="F8232D"/>
      </a:hlink>
      <a:folHlink>
        <a:srgbClr val="9B9B9C"/>
      </a:folHlink>
    </a:clrScheme>
    <a:fontScheme name="Norlys">
      <a:majorFont>
        <a:latin typeface="Georgi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Norlys_PP-skabelon.potx" id="{58C7B763-9C67-4A34-9B87-5CBAA359907C}" vid="{6273D876-11B1-42AE-BC51-9520F82A0992}"/>
    </a:ext>
  </a:extLst>
</a:theme>
</file>

<file path=ppt/theme/theme4.xml><?xml version="1.0" encoding="utf-8"?>
<a:theme xmlns:a="http://schemas.openxmlformats.org/drawingml/2006/main" name="1_Norlys">
  <a:themeElements>
    <a:clrScheme name="Brugerdefineret 3">
      <a:dk1>
        <a:srgbClr val="000000"/>
      </a:dk1>
      <a:lt1>
        <a:srgbClr val="FFFFFF"/>
      </a:lt1>
      <a:dk2>
        <a:srgbClr val="000000"/>
      </a:dk2>
      <a:lt2>
        <a:srgbClr val="EDE6E1"/>
      </a:lt2>
      <a:accent1>
        <a:srgbClr val="F7232C"/>
      </a:accent1>
      <a:accent2>
        <a:srgbClr val="FFDEE5"/>
      </a:accent2>
      <a:accent3>
        <a:srgbClr val="24D286"/>
      </a:accent3>
      <a:accent4>
        <a:srgbClr val="002B6A"/>
      </a:accent4>
      <a:accent5>
        <a:srgbClr val="FFDA37"/>
      </a:accent5>
      <a:accent6>
        <a:srgbClr val="694F37"/>
      </a:accent6>
      <a:hlink>
        <a:srgbClr val="F7232C"/>
      </a:hlink>
      <a:folHlink>
        <a:srgbClr val="9B9B9B"/>
      </a:folHlink>
    </a:clrScheme>
    <a:fontScheme name="Norlys_Font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Visuel identitet_repræsentantskab.potx" id="{559D4872-FCAC-43A7-8EAF-1EE8C69C11CA}" vid="{B35BE279-DB62-4481-86F4-74899B97D824}"/>
    </a:ext>
  </a:extLst>
</a:theme>
</file>

<file path=ppt/theme/theme5.xml><?xml version="1.0" encoding="utf-8"?>
<a:theme xmlns:a="http://schemas.openxmlformats.org/drawingml/2006/main" name="Office Theme">
  <a:themeElements>
    <a:clrScheme name="Power Color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7F3EB2"/>
      </a:accent1>
      <a:accent2>
        <a:srgbClr val="FF5988"/>
      </a:accent2>
      <a:accent3>
        <a:srgbClr val="8A48BE"/>
      </a:accent3>
      <a:accent4>
        <a:srgbClr val="FE6D96"/>
      </a:accent4>
      <a:accent5>
        <a:srgbClr val="9B58D0"/>
      </a:accent5>
      <a:accent6>
        <a:srgbClr val="FD83A6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gradFill>
          <a:gsLst>
            <a:gs pos="0">
              <a:schemeClr val="accent1"/>
            </a:gs>
            <a:gs pos="100000">
              <a:schemeClr val="accent2"/>
            </a:gs>
          </a:gsLst>
          <a:lin ang="2700000" scaled="0"/>
        </a:gradFill>
        <a:ln>
          <a:noFill/>
        </a:ln>
      </a:spPr>
      <a:bodyPr lIns="0" tIns="0" rIns="0" bIns="0"/>
      <a:lstStyle>
        <a:defPPr>
          <a:defRPr/>
        </a:defPPr>
      </a:lstStyle>
    </a:spDef>
    <a:lnDef>
      <a:spPr>
        <a:ln w="25400"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2700000" scaled="0"/>
          </a:gra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rtlCol="0">
        <a:spAutoFit/>
      </a:bodyPr>
      <a:lstStyle>
        <a:defPPr>
          <a:lnSpc>
            <a:spcPct val="265000"/>
          </a:lnSpc>
          <a:defRPr dirty="0" smtClean="0">
            <a:latin typeface="Roboto" charset="0"/>
            <a:ea typeface="Roboto" charset="0"/>
            <a:cs typeface="Roboto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undraiseren_powerpoint2" id="{CB088E78-5DB2-B841-A31A-16141E512EA8}" vid="{076FD50E-1814-D846-B7E7-EB64C72DD387}"/>
    </a:ext>
  </a:extLst>
</a:theme>
</file>

<file path=ppt/theme/theme6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62</TotalTime>
  <Words>2073</Words>
  <Application>Microsoft Office PowerPoint</Application>
  <PresentationFormat>Widescreen</PresentationFormat>
  <Paragraphs>395</Paragraphs>
  <Slides>52</Slides>
  <Notes>52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10</vt:i4>
      </vt:variant>
      <vt:variant>
        <vt:lpstr>Tema</vt:lpstr>
      </vt:variant>
      <vt:variant>
        <vt:i4>5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52</vt:i4>
      </vt:variant>
    </vt:vector>
  </HeadingPairs>
  <TitlesOfParts>
    <vt:vector size="68" baseType="lpstr">
      <vt:lpstr>Arial</vt:lpstr>
      <vt:lpstr>Calibri</vt:lpstr>
      <vt:lpstr>Calibri Light</vt:lpstr>
      <vt:lpstr>Georgia</vt:lpstr>
      <vt:lpstr>Playfair Display</vt:lpstr>
      <vt:lpstr>Roboto</vt:lpstr>
      <vt:lpstr>Times New Roman</vt:lpstr>
      <vt:lpstr>Titillium</vt:lpstr>
      <vt:lpstr>Verdana</vt:lpstr>
      <vt:lpstr>Wingdings</vt:lpstr>
      <vt:lpstr>Office-tema</vt:lpstr>
      <vt:lpstr>FLAG - overskrift 2</vt:lpstr>
      <vt:lpstr>Norlys</vt:lpstr>
      <vt:lpstr>1_Norlys</vt:lpstr>
      <vt:lpstr>Office Theme</vt:lpstr>
      <vt:lpstr>think-cell Slide</vt:lpstr>
      <vt:lpstr>Velkommen</vt:lpstr>
      <vt:lpstr>Hvem er vi?</vt:lpstr>
      <vt:lpstr>Program</vt:lpstr>
      <vt:lpstr>LAG - Lokal Aktions Gruppe  LAG Randers-Favrskov</vt:lpstr>
      <vt:lpstr>LAG Randers-Favrskov bestyrelse (8 + 5 + 2)</vt:lpstr>
      <vt:lpstr>LAG Randers - Favrskov Udviklingsstrategi 2014-2020</vt:lpstr>
      <vt:lpstr>EU’s Landdistriktsprogram 2 søjler: 1. Landbrugsstøtte, 2. LAG</vt:lpstr>
      <vt:lpstr> Ansøgningsfrister 2021:  12. februar og  23. april  Koordinator er ansat til at hjælpe jer: </vt:lpstr>
      <vt:lpstr>PowerPoint-præsentation</vt:lpstr>
      <vt:lpstr>Projektering fra ide til projekt</vt:lpstr>
      <vt:lpstr>Andre muligheder</vt:lpstr>
      <vt:lpstr>Landsbypuljen</vt:lpstr>
      <vt:lpstr>Landsbypuljen</vt:lpstr>
      <vt:lpstr>Landsbypuljen</vt:lpstr>
      <vt:lpstr>Landsbypuljen</vt:lpstr>
      <vt:lpstr>ELROfonden</vt:lpstr>
      <vt:lpstr>PowerPoint-præsentation</vt:lpstr>
      <vt:lpstr>Agenda</vt:lpstr>
      <vt:lpstr>Hvem er Norlys?</vt:lpstr>
      <vt:lpstr>Vores rolle og fokus</vt:lpstr>
      <vt:lpstr>PowerPoint-præsentation</vt:lpstr>
      <vt:lpstr>Norlys Vækstpulje</vt:lpstr>
      <vt:lpstr>Hvorfor Norlys Vækstpulje?</vt:lpstr>
      <vt:lpstr>Processen</vt:lpstr>
      <vt:lpstr>Overordnet formål</vt:lpstr>
      <vt:lpstr>Formål</vt:lpstr>
      <vt:lpstr>Formål</vt:lpstr>
      <vt:lpstr>Sådan gør du …</vt:lpstr>
      <vt:lpstr>Særligt for Randers</vt:lpstr>
      <vt:lpstr>Særligt for Randers</vt:lpstr>
      <vt:lpstr>PowerPoint-præsentation</vt:lpstr>
      <vt:lpstr>Pause</vt:lpstr>
      <vt:lpstr>PowerPoint-præsentation</vt:lpstr>
      <vt:lpstr>PowerPoint-præsentation</vt:lpstr>
      <vt:lpstr>Vigtigheden af donor research</vt:lpstr>
      <vt:lpstr>PowerPoint-præsentation</vt:lpstr>
      <vt:lpstr>PowerPoint-præsentation</vt:lpstr>
      <vt:lpstr>PowerPoint-præsentation</vt:lpstr>
      <vt:lpstr>PowerPoint-præsentation</vt:lpstr>
      <vt:lpstr>Offentlige puljer</vt:lpstr>
      <vt:lpstr>PowerPoint-præsentation</vt:lpstr>
      <vt:lpstr>Hvad definerer et støtteværdigt projekt?</vt:lpstr>
      <vt:lpstr>Evaluering af fondslisten</vt:lpstr>
      <vt:lpstr>Evaluering af fondslisten</vt:lpstr>
      <vt:lpstr>Flere tips til skrivefasen</vt:lpstr>
      <vt:lpstr>PowerPoint-præsentation</vt:lpstr>
      <vt:lpstr>PowerPoint-præsentation</vt:lpstr>
      <vt:lpstr>Egenfinansiering</vt:lpstr>
      <vt:lpstr>Hvad sker der efter projektets realisering?</vt:lpstr>
      <vt:lpstr>What did you learn in school today?</vt:lpstr>
      <vt:lpstr>PowerPoint-præsentation</vt:lpstr>
      <vt:lpstr>PowerPoint-præsentation</vt:lpstr>
    </vt:vector>
  </TitlesOfParts>
  <Company>Randers Kommun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elkommen</dc:title>
  <dc:creator>Line Marie Sørensen</dc:creator>
  <cp:lastModifiedBy>Line Marie Sørensen</cp:lastModifiedBy>
  <cp:revision>14</cp:revision>
  <cp:lastPrinted>2020-10-22T13:11:13Z</cp:lastPrinted>
  <dcterms:created xsi:type="dcterms:W3CDTF">2020-09-30T12:42:33Z</dcterms:created>
  <dcterms:modified xsi:type="dcterms:W3CDTF">2020-10-26T09:46:40Z</dcterms:modified>
</cp:coreProperties>
</file>